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46"/>
  </p:notesMasterIdLst>
  <p:handoutMasterIdLst>
    <p:handoutMasterId r:id="rId47"/>
  </p:handoutMasterIdLst>
  <p:sldIdLst>
    <p:sldId id="2145706646" r:id="rId5"/>
    <p:sldId id="2145706649" r:id="rId6"/>
    <p:sldId id="2145706654" r:id="rId7"/>
    <p:sldId id="2145706707" r:id="rId8"/>
    <p:sldId id="2145706708" r:id="rId9"/>
    <p:sldId id="2665" r:id="rId10"/>
    <p:sldId id="2145706714" r:id="rId11"/>
    <p:sldId id="2145706715" r:id="rId12"/>
    <p:sldId id="2145706716" r:id="rId13"/>
    <p:sldId id="2145706720" r:id="rId14"/>
    <p:sldId id="2145706721" r:id="rId15"/>
    <p:sldId id="2145706722" r:id="rId16"/>
    <p:sldId id="2145706723" r:id="rId17"/>
    <p:sldId id="2145706724" r:id="rId18"/>
    <p:sldId id="2145706641" r:id="rId19"/>
    <p:sldId id="2145706710" r:id="rId20"/>
    <p:sldId id="2145706712" r:id="rId21"/>
    <p:sldId id="2145706713" r:id="rId22"/>
    <p:sldId id="2145706717" r:id="rId23"/>
    <p:sldId id="2145706718" r:id="rId24"/>
    <p:sldId id="2145706719" r:id="rId25"/>
    <p:sldId id="2145706640" r:id="rId26"/>
    <p:sldId id="2145706730" r:id="rId27"/>
    <p:sldId id="2145706726" r:id="rId28"/>
    <p:sldId id="2145706727" r:id="rId29"/>
    <p:sldId id="2145706728" r:id="rId30"/>
    <p:sldId id="2145706644" r:id="rId31"/>
    <p:sldId id="2145706733" r:id="rId32"/>
    <p:sldId id="2145706709" r:id="rId33"/>
    <p:sldId id="2145706736" r:id="rId34"/>
    <p:sldId id="2145706738" r:id="rId35"/>
    <p:sldId id="2145706739" r:id="rId36"/>
    <p:sldId id="2145706735" r:id="rId37"/>
    <p:sldId id="2145706740" r:id="rId38"/>
    <p:sldId id="2145706742" r:id="rId39"/>
    <p:sldId id="2145706741" r:id="rId40"/>
    <p:sldId id="2145706743" r:id="rId41"/>
    <p:sldId id="2145706744" r:id="rId42"/>
    <p:sldId id="2145706746" r:id="rId43"/>
    <p:sldId id="2145706745" r:id="rId44"/>
    <p:sldId id="2145706638" r:id="rId45"/>
  </p:sldIdLst>
  <p:sldSz cx="12192000" cy="6858000"/>
  <p:notesSz cx="6797675" cy="9926638"/>
  <p:embeddedFontLst>
    <p:embeddedFont>
      <p:font typeface="Amasis MT Pro" panose="02040504050005020304" pitchFamily="18" charset="0"/>
      <p:regular r:id="rId48"/>
      <p:bold r:id="rId49"/>
      <p:italic r:id="rId50"/>
      <p:boldItalic r:id="rId51"/>
    </p:embeddedFont>
    <p:embeddedFont>
      <p:font typeface="Amasis MT Pro Light" panose="02040304050005020304" pitchFamily="18" charset="0"/>
      <p:regular r:id="rId52"/>
      <p:italic r:id="rId53"/>
    </p:embeddedFont>
    <p:embeddedFont>
      <p:font typeface="Aptos SemiBold" panose="020B0004020202020204" pitchFamily="34" charset="0"/>
      <p:bold r:id="rId54"/>
      <p:boldItalic r:id="rId55"/>
    </p:embeddedFont>
    <p:embeddedFont>
      <p:font typeface="Lucida Fax" panose="02060602050505020204" pitchFamily="18" charset="0"/>
      <p:regular r:id="rId56"/>
      <p:bold r:id="rId57"/>
      <p:italic r:id="rId58"/>
      <p:boldItalic r:id="rId59"/>
    </p:embeddedFont>
    <p:embeddedFont>
      <p:font typeface="Ubuntu" panose="020B0504030602030204" pitchFamily="34" charset="0"/>
      <p:regular r:id="rId60"/>
      <p:bold r:id="rId61"/>
      <p:italic r:id="rId62"/>
      <p:boldItalic r:id="rId63"/>
    </p:embeddedFont>
    <p:embeddedFont>
      <p:font typeface="Ubuntu Light" panose="020B0304030602030204" pitchFamily="34" charset="0"/>
      <p:regular r:id="rId64"/>
      <p:italic r:id="rId65"/>
    </p:embeddedFont>
    <p:embeddedFont>
      <p:font typeface="Verdana" panose="020B0604030504040204" pitchFamily="34" charset="0"/>
      <p:regular r:id="rId66"/>
      <p:bold r:id="rId67"/>
      <p:italic r:id="rId68"/>
      <p:boldItalic r:id="rId69"/>
    </p:embeddedFont>
  </p:embeddedFontLst>
  <p:custDataLst>
    <p:tags r:id="rId7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6D2F15-A203-31D7-7AE9-5C6F6378D5F3}" name="Vulluri, Akhila" initials="AV" userId="S::akhila.vulluri@capgemini.com::ee34657b-d571-4573-90b7-c782f19323b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4596B"/>
    <a:srgbClr val="616585"/>
    <a:srgbClr val="F6F6F6"/>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4FA4CD-A2A3-4725-AAA1-61E295168D40}" v="415" dt="2025-06-30T05:01:36.2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5107" autoAdjust="0"/>
  </p:normalViewPr>
  <p:slideViewPr>
    <p:cSldViewPr>
      <p:cViewPr varScale="1">
        <p:scale>
          <a:sx n="47" d="100"/>
          <a:sy n="47" d="100"/>
        </p:scale>
        <p:origin x="1416" y="48"/>
      </p:cViewPr>
      <p:guideLst>
        <p:guide orient="horz" pos="2886"/>
        <p:guide pos="5609"/>
        <p:guide pos="2071"/>
      </p:guideLst>
    </p:cSldViewPr>
  </p:slideViewPr>
  <p:outlineViewPr>
    <p:cViewPr>
      <p:scale>
        <a:sx n="33" d="100"/>
        <a:sy n="33" d="100"/>
      </p:scale>
      <p:origin x="0" y="-908"/>
    </p:cViewPr>
  </p:outlineViewPr>
  <p:notesTextViewPr>
    <p:cViewPr>
      <p:scale>
        <a:sx n="3" d="2"/>
        <a:sy n="3" d="2"/>
      </p:scale>
      <p:origin x="0" y="0"/>
    </p:cViewPr>
  </p:notesTextViewPr>
  <p:sorterViewPr>
    <p:cViewPr varScale="1">
      <p:scale>
        <a:sx n="100" d="100"/>
        <a:sy n="100" d="100"/>
      </p:scale>
      <p:origin x="0" y="-104"/>
    </p:cViewPr>
  </p:sorterViewPr>
  <p:notesViewPr>
    <p:cSldViewPr>
      <p:cViewPr varScale="1">
        <p:scale>
          <a:sx n="44" d="100"/>
          <a:sy n="44" d="100"/>
        </p:scale>
        <p:origin x="2852" y="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handoutMaster" Target="handoutMasters/handoutMaster1.xml"/><Relationship Id="rId63" Type="http://schemas.openxmlformats.org/officeDocument/2006/relationships/font" Target="fonts/font16.fntdata"/><Relationship Id="rId68" Type="http://schemas.openxmlformats.org/officeDocument/2006/relationships/font" Target="fonts/font21.fntdata"/><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6.fntdata"/><Relationship Id="rId58" Type="http://schemas.openxmlformats.org/officeDocument/2006/relationships/font" Target="fonts/font11.fntdata"/><Relationship Id="rId66" Type="http://schemas.openxmlformats.org/officeDocument/2006/relationships/font" Target="fonts/font19.fntdata"/><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font" Target="fonts/font14.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font" Target="fonts/font17.fntdata"/><Relationship Id="rId69" Type="http://schemas.openxmlformats.org/officeDocument/2006/relationships/font" Target="fonts/font22.fntdata"/><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font" Target="fonts/font4.fntdata"/><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59" Type="http://schemas.openxmlformats.org/officeDocument/2006/relationships/font" Target="fonts/font12.fntdata"/><Relationship Id="rId67" Type="http://schemas.openxmlformats.org/officeDocument/2006/relationships/font" Target="fonts/font20.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7.fntdata"/><Relationship Id="rId62" Type="http://schemas.openxmlformats.org/officeDocument/2006/relationships/font" Target="fonts/font15.fntdata"/><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5.fntdata"/><Relationship Id="rId60" Type="http://schemas.openxmlformats.org/officeDocument/2006/relationships/font" Target="fonts/font13.fntdata"/><Relationship Id="rId65" Type="http://schemas.openxmlformats.org/officeDocument/2006/relationships/font" Target="fonts/font18.fntdata"/><Relationship Id="rId73" Type="http://schemas.openxmlformats.org/officeDocument/2006/relationships/viewProps" Target="view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font" Target="fonts/font3.fntdata"/><Relationship Id="rId55" Type="http://schemas.openxmlformats.org/officeDocument/2006/relationships/font" Target="fonts/font8.fntdata"/><Relationship Id="rId76"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ulluri, Akhila" userId="ee34657b-d571-4573-90b7-c782f19323b3" providerId="ADAL" clId="{C98C8EEB-8F14-4861-9126-CC09B2E8641E}"/>
    <pc:docChg chg="undo custSel addSld delSld modSld sldOrd">
      <pc:chgData name="Vulluri, Akhila" userId="ee34657b-d571-4573-90b7-c782f19323b3" providerId="ADAL" clId="{C98C8EEB-8F14-4861-9126-CC09B2E8641E}" dt="2024-12-06T10:36:44.666" v="644" actId="47"/>
      <pc:docMkLst>
        <pc:docMk/>
      </pc:docMkLst>
      <pc:sldChg chg="addSp delSp modSp mod">
        <pc:chgData name="Vulluri, Akhila" userId="ee34657b-d571-4573-90b7-c782f19323b3" providerId="ADAL" clId="{C98C8EEB-8F14-4861-9126-CC09B2E8641E}" dt="2024-12-06T07:28:49.779" v="627" actId="478"/>
        <pc:sldMkLst>
          <pc:docMk/>
          <pc:sldMk cId="539538189" sldId="2662"/>
        </pc:sldMkLst>
      </pc:sldChg>
      <pc:sldChg chg="modSp del mod">
        <pc:chgData name="Vulluri, Akhila" userId="ee34657b-d571-4573-90b7-c782f19323b3" providerId="ADAL" clId="{C98C8EEB-8F14-4861-9126-CC09B2E8641E}" dt="2024-12-06T10:36:44.666" v="644" actId="47"/>
        <pc:sldMkLst>
          <pc:docMk/>
          <pc:sldMk cId="987345956" sldId="2145706636"/>
        </pc:sldMkLst>
      </pc:sldChg>
      <pc:sldChg chg="modSp mod">
        <pc:chgData name="Vulluri, Akhila" userId="ee34657b-d571-4573-90b7-c782f19323b3" providerId="ADAL" clId="{C98C8EEB-8F14-4861-9126-CC09B2E8641E}" dt="2024-12-06T07:21:02.009" v="618" actId="113"/>
        <pc:sldMkLst>
          <pc:docMk/>
          <pc:sldMk cId="3724249930" sldId="2145706638"/>
        </pc:sldMkLst>
      </pc:sldChg>
      <pc:sldChg chg="addSp delSp modSp mod">
        <pc:chgData name="Vulluri, Akhila" userId="ee34657b-d571-4573-90b7-c782f19323b3" providerId="ADAL" clId="{C98C8EEB-8F14-4861-9126-CC09B2E8641E}" dt="2024-12-06T07:22:40.026" v="623" actId="478"/>
        <pc:sldMkLst>
          <pc:docMk/>
          <pc:sldMk cId="4043674719" sldId="2145706646"/>
        </pc:sldMkLst>
      </pc:sldChg>
      <pc:sldChg chg="modSp mod modShow">
        <pc:chgData name="Vulluri, Akhila" userId="ee34657b-d571-4573-90b7-c782f19323b3" providerId="ADAL" clId="{C98C8EEB-8F14-4861-9126-CC09B2E8641E}" dt="2024-12-06T10:36:29.666" v="641" actId="729"/>
        <pc:sldMkLst>
          <pc:docMk/>
          <pc:sldMk cId="1929102588" sldId="2145706649"/>
        </pc:sldMkLst>
      </pc:sldChg>
      <pc:sldChg chg="mod modShow modNotesTx">
        <pc:chgData name="Vulluri, Akhila" userId="ee34657b-d571-4573-90b7-c782f19323b3" providerId="ADAL" clId="{C98C8EEB-8F14-4861-9126-CC09B2E8641E}" dt="2024-12-06T10:36:34.084" v="642" actId="729"/>
        <pc:sldMkLst>
          <pc:docMk/>
          <pc:sldMk cId="1593945711" sldId="2145706654"/>
        </pc:sldMkLst>
      </pc:sldChg>
      <pc:sldChg chg="modNotesTx">
        <pc:chgData name="Vulluri, Akhila" userId="ee34657b-d571-4573-90b7-c782f19323b3" providerId="ADAL" clId="{C98C8EEB-8F14-4861-9126-CC09B2E8641E}" dt="2024-12-05T06:29:58.221" v="260" actId="20577"/>
        <pc:sldMkLst>
          <pc:docMk/>
          <pc:sldMk cId="500002867" sldId="2145706655"/>
        </pc:sldMkLst>
      </pc:sldChg>
      <pc:sldChg chg="mod modShow">
        <pc:chgData name="Vulluri, Akhila" userId="ee34657b-d571-4573-90b7-c782f19323b3" providerId="ADAL" clId="{C98C8EEB-8F14-4861-9126-CC09B2E8641E}" dt="2024-12-06T10:36:39.608" v="643" actId="729"/>
        <pc:sldMkLst>
          <pc:docMk/>
          <pc:sldMk cId="3330236404" sldId="2145706661"/>
        </pc:sldMkLst>
      </pc:sldChg>
      <pc:sldChg chg="addSp delSp modSp mod">
        <pc:chgData name="Vulluri, Akhila" userId="ee34657b-d571-4573-90b7-c782f19323b3" providerId="ADAL" clId="{C98C8EEB-8F14-4861-9126-CC09B2E8641E}" dt="2024-12-06T07:21:48.459" v="620" actId="478"/>
        <pc:sldMkLst>
          <pc:docMk/>
          <pc:sldMk cId="3226894735" sldId="2145706664"/>
        </pc:sldMkLst>
      </pc:sldChg>
      <pc:sldChg chg="modSp mod">
        <pc:chgData name="Vulluri, Akhila" userId="ee34657b-d571-4573-90b7-c782f19323b3" providerId="ADAL" clId="{C98C8EEB-8F14-4861-9126-CC09B2E8641E}" dt="2024-12-05T07:12:42.900" v="266" actId="1076"/>
        <pc:sldMkLst>
          <pc:docMk/>
          <pc:sldMk cId="1543284878" sldId="2145706667"/>
        </pc:sldMkLst>
      </pc:sldChg>
      <pc:sldChg chg="addSp modSp mod modClrScheme chgLayout">
        <pc:chgData name="Vulluri, Akhila" userId="ee34657b-d571-4573-90b7-c782f19323b3" providerId="ADAL" clId="{C98C8EEB-8F14-4861-9126-CC09B2E8641E}" dt="2024-12-06T06:54:09.621" v="542" actId="26606"/>
        <pc:sldMkLst>
          <pc:docMk/>
          <pc:sldMk cId="4286631755" sldId="2145706668"/>
        </pc:sldMkLst>
      </pc:sldChg>
      <pc:sldChg chg="modSp">
        <pc:chgData name="Vulluri, Akhila" userId="ee34657b-d571-4573-90b7-c782f19323b3" providerId="ADAL" clId="{C98C8EEB-8F14-4861-9126-CC09B2E8641E}" dt="2024-12-05T09:15:08.852" v="267" actId="1076"/>
        <pc:sldMkLst>
          <pc:docMk/>
          <pc:sldMk cId="417748797" sldId="2145706669"/>
        </pc:sldMkLst>
      </pc:sldChg>
      <pc:sldChg chg="addSp modSp mod">
        <pc:chgData name="Vulluri, Akhila" userId="ee34657b-d571-4573-90b7-c782f19323b3" providerId="ADAL" clId="{C98C8EEB-8F14-4861-9126-CC09B2E8641E}" dt="2024-12-06T06:55:08.816" v="551" actId="1076"/>
        <pc:sldMkLst>
          <pc:docMk/>
          <pc:sldMk cId="176784036" sldId="2145706670"/>
        </pc:sldMkLst>
      </pc:sldChg>
      <pc:sldChg chg="modSp mod">
        <pc:chgData name="Vulluri, Akhila" userId="ee34657b-d571-4573-90b7-c782f19323b3" providerId="ADAL" clId="{C98C8EEB-8F14-4861-9126-CC09B2E8641E}" dt="2024-12-05T06:33:53.205" v="265" actId="11"/>
        <pc:sldMkLst>
          <pc:docMk/>
          <pc:sldMk cId="3907411311" sldId="2145706671"/>
        </pc:sldMkLst>
      </pc:sldChg>
      <pc:sldChg chg="modSp mod">
        <pc:chgData name="Vulluri, Akhila" userId="ee34657b-d571-4573-90b7-c782f19323b3" providerId="ADAL" clId="{C98C8EEB-8F14-4861-9126-CC09B2E8641E}" dt="2024-12-05T09:17:06.102" v="270" actId="20577"/>
        <pc:sldMkLst>
          <pc:docMk/>
          <pc:sldMk cId="3594021696" sldId="2145706672"/>
        </pc:sldMkLst>
      </pc:sldChg>
      <pc:sldChg chg="addSp modSp mod modClrScheme chgLayout">
        <pc:chgData name="Vulluri, Akhila" userId="ee34657b-d571-4573-90b7-c782f19323b3" providerId="ADAL" clId="{C98C8EEB-8F14-4861-9126-CC09B2E8641E}" dt="2024-12-06T06:57:38.634" v="554" actId="1076"/>
        <pc:sldMkLst>
          <pc:docMk/>
          <pc:sldMk cId="3940142805" sldId="2145706673"/>
        </pc:sldMkLst>
      </pc:sldChg>
      <pc:sldChg chg="addSp delSp modSp mod modClrScheme chgLayout">
        <pc:chgData name="Vulluri, Akhila" userId="ee34657b-d571-4573-90b7-c782f19323b3" providerId="ADAL" clId="{C98C8EEB-8F14-4861-9126-CC09B2E8641E}" dt="2024-12-06T07:02:36.403" v="589" actId="1076"/>
        <pc:sldMkLst>
          <pc:docMk/>
          <pc:sldMk cId="875613087" sldId="2145706675"/>
        </pc:sldMkLst>
      </pc:sldChg>
      <pc:sldChg chg="addSp delSp modSp mod modClrScheme chgLayout">
        <pc:chgData name="Vulluri, Akhila" userId="ee34657b-d571-4573-90b7-c782f19323b3" providerId="ADAL" clId="{C98C8EEB-8F14-4861-9126-CC09B2E8641E}" dt="2024-12-06T07:00:39.896" v="574" actId="255"/>
        <pc:sldMkLst>
          <pc:docMk/>
          <pc:sldMk cId="1635904605" sldId="2145706676"/>
        </pc:sldMkLst>
      </pc:sldChg>
      <pc:sldChg chg="addSp modSp mod">
        <pc:chgData name="Vulluri, Akhila" userId="ee34657b-d571-4573-90b7-c782f19323b3" providerId="ADAL" clId="{C98C8EEB-8F14-4861-9126-CC09B2E8641E}" dt="2024-12-06T07:06:25.868" v="613" actId="1076"/>
        <pc:sldMkLst>
          <pc:docMk/>
          <pc:sldMk cId="2149208639" sldId="2145706677"/>
        </pc:sldMkLst>
      </pc:sldChg>
      <pc:sldChg chg="modSp mod">
        <pc:chgData name="Vulluri, Akhila" userId="ee34657b-d571-4573-90b7-c782f19323b3" providerId="ADAL" clId="{C98C8EEB-8F14-4861-9126-CC09B2E8641E}" dt="2024-12-04T15:27:04.367" v="21" actId="1076"/>
        <pc:sldMkLst>
          <pc:docMk/>
          <pc:sldMk cId="287635208" sldId="2145706678"/>
        </pc:sldMkLst>
      </pc:sldChg>
      <pc:sldChg chg="addSp delSp modSp mod">
        <pc:chgData name="Vulluri, Akhila" userId="ee34657b-d571-4573-90b7-c782f19323b3" providerId="ADAL" clId="{C98C8EEB-8F14-4861-9126-CC09B2E8641E}" dt="2024-12-06T07:04:56.040" v="603" actId="1076"/>
        <pc:sldMkLst>
          <pc:docMk/>
          <pc:sldMk cId="318228989" sldId="2145706679"/>
        </pc:sldMkLst>
      </pc:sldChg>
      <pc:sldChg chg="addSp modSp mod modClrScheme chgLayout">
        <pc:chgData name="Vulluri, Akhila" userId="ee34657b-d571-4573-90b7-c782f19323b3" providerId="ADAL" clId="{C98C8EEB-8F14-4861-9126-CC09B2E8641E}" dt="2024-12-06T07:03:43.020" v="591" actId="26606"/>
        <pc:sldMkLst>
          <pc:docMk/>
          <pc:sldMk cId="1562774045" sldId="2145706680"/>
        </pc:sldMkLst>
      </pc:sldChg>
      <pc:sldChg chg="addSp delSp modSp mod modClrScheme chgLayout">
        <pc:chgData name="Vulluri, Akhila" userId="ee34657b-d571-4573-90b7-c782f19323b3" providerId="ADAL" clId="{C98C8EEB-8F14-4861-9126-CC09B2E8641E}" dt="2024-12-06T07:07:47.466" v="617" actId="1076"/>
        <pc:sldMkLst>
          <pc:docMk/>
          <pc:sldMk cId="2986404614" sldId="2145706684"/>
        </pc:sldMkLst>
      </pc:sldChg>
      <pc:sldChg chg="delSp modSp mod">
        <pc:chgData name="Vulluri, Akhila" userId="ee34657b-d571-4573-90b7-c782f19323b3" providerId="ADAL" clId="{C98C8EEB-8F14-4861-9126-CC09B2E8641E}" dt="2024-12-05T10:24:48.739" v="285" actId="1076"/>
        <pc:sldMkLst>
          <pc:docMk/>
          <pc:sldMk cId="1680626841" sldId="2145706685"/>
        </pc:sldMkLst>
      </pc:sldChg>
      <pc:sldChg chg="modSp mod">
        <pc:chgData name="Vulluri, Akhila" userId="ee34657b-d571-4573-90b7-c782f19323b3" providerId="ADAL" clId="{C98C8EEB-8F14-4861-9126-CC09B2E8641E}" dt="2024-12-04T15:28:37.575" v="25" actId="255"/>
        <pc:sldMkLst>
          <pc:docMk/>
          <pc:sldMk cId="356010755" sldId="2145706686"/>
        </pc:sldMkLst>
      </pc:sldChg>
      <pc:sldChg chg="addSp delSp modSp mod">
        <pc:chgData name="Vulluri, Akhila" userId="ee34657b-d571-4573-90b7-c782f19323b3" providerId="ADAL" clId="{C98C8EEB-8F14-4861-9126-CC09B2E8641E}" dt="2024-12-06T06:30:46.505" v="481" actId="1076"/>
        <pc:sldMkLst>
          <pc:docMk/>
          <pc:sldMk cId="3624424714" sldId="2145706688"/>
        </pc:sldMkLst>
      </pc:sldChg>
      <pc:sldChg chg="addSp delSp modSp mod modClrScheme chgLayout">
        <pc:chgData name="Vulluri, Akhila" userId="ee34657b-d571-4573-90b7-c782f19323b3" providerId="ADAL" clId="{C98C8EEB-8F14-4861-9126-CC09B2E8641E}" dt="2024-12-06T06:29:33.744" v="471" actId="1076"/>
        <pc:sldMkLst>
          <pc:docMk/>
          <pc:sldMk cId="950420605" sldId="2145706689"/>
        </pc:sldMkLst>
      </pc:sldChg>
      <pc:sldChg chg="addSp delSp modSp mod">
        <pc:chgData name="Vulluri, Akhila" userId="ee34657b-d571-4573-90b7-c782f19323b3" providerId="ADAL" clId="{C98C8EEB-8F14-4861-9126-CC09B2E8641E}" dt="2024-12-06T06:28:06.435" v="461" actId="1076"/>
        <pc:sldMkLst>
          <pc:docMk/>
          <pc:sldMk cId="3471608763" sldId="2145706690"/>
        </pc:sldMkLst>
      </pc:sldChg>
      <pc:sldChg chg="addSp delSp modSp mod ord modClrScheme chgLayout">
        <pc:chgData name="Vulluri, Akhila" userId="ee34657b-d571-4573-90b7-c782f19323b3" providerId="ADAL" clId="{C98C8EEB-8F14-4861-9126-CC09B2E8641E}" dt="2024-12-06T06:26:26.744" v="456" actId="14100"/>
        <pc:sldMkLst>
          <pc:docMk/>
          <pc:sldMk cId="1816425673" sldId="2145706691"/>
        </pc:sldMkLst>
      </pc:sldChg>
      <pc:sldChg chg="delSp modSp mod">
        <pc:chgData name="Vulluri, Akhila" userId="ee34657b-d571-4573-90b7-c782f19323b3" providerId="ADAL" clId="{C98C8EEB-8F14-4861-9126-CC09B2E8641E}" dt="2024-12-05T11:07:35.959" v="390" actId="478"/>
        <pc:sldMkLst>
          <pc:docMk/>
          <pc:sldMk cId="721271162" sldId="2145706692"/>
        </pc:sldMkLst>
      </pc:sldChg>
      <pc:sldChg chg="addSp delSp modSp mod modClrScheme chgLayout">
        <pc:chgData name="Vulluri, Akhila" userId="ee34657b-d571-4573-90b7-c782f19323b3" providerId="ADAL" clId="{C98C8EEB-8F14-4861-9126-CC09B2E8641E}" dt="2024-12-06T06:32:37.535" v="484" actId="26606"/>
        <pc:sldMkLst>
          <pc:docMk/>
          <pc:sldMk cId="799445431" sldId="2145706693"/>
        </pc:sldMkLst>
      </pc:sldChg>
      <pc:sldChg chg="modSp mod">
        <pc:chgData name="Vulluri, Akhila" userId="ee34657b-d571-4573-90b7-c782f19323b3" providerId="ADAL" clId="{C98C8EEB-8F14-4861-9126-CC09B2E8641E}" dt="2024-12-05T10:48:33.232" v="357" actId="20577"/>
        <pc:sldMkLst>
          <pc:docMk/>
          <pc:sldMk cId="887218093" sldId="2145706694"/>
        </pc:sldMkLst>
      </pc:sldChg>
      <pc:sldChg chg="addSp delSp modSp mod modClrScheme chgLayout">
        <pc:chgData name="Vulluri, Akhila" userId="ee34657b-d571-4573-90b7-c782f19323b3" providerId="ADAL" clId="{C98C8EEB-8F14-4861-9126-CC09B2E8641E}" dt="2024-12-06T06:34:12.369" v="491" actId="255"/>
        <pc:sldMkLst>
          <pc:docMk/>
          <pc:sldMk cId="3671287398" sldId="2145706696"/>
        </pc:sldMkLst>
      </pc:sldChg>
      <pc:sldChg chg="addSp delSp modSp mod">
        <pc:chgData name="Vulluri, Akhila" userId="ee34657b-d571-4573-90b7-c782f19323b3" providerId="ADAL" clId="{C98C8EEB-8F14-4861-9126-CC09B2E8641E}" dt="2024-12-05T10:33:18.451" v="304" actId="1076"/>
        <pc:sldMkLst>
          <pc:docMk/>
          <pc:sldMk cId="2851479306" sldId="2145706697"/>
        </pc:sldMkLst>
      </pc:sldChg>
      <pc:sldChg chg="addSp delSp modSp mod">
        <pc:chgData name="Vulluri, Akhila" userId="ee34657b-d571-4573-90b7-c782f19323b3" providerId="ADAL" clId="{C98C8EEB-8F14-4861-9126-CC09B2E8641E}" dt="2024-12-06T06:47:33.549" v="506" actId="1076"/>
        <pc:sldMkLst>
          <pc:docMk/>
          <pc:sldMk cId="573567984" sldId="2145706698"/>
        </pc:sldMkLst>
      </pc:sldChg>
      <pc:sldChg chg="addSp delSp modSp mod modClrScheme chgLayout">
        <pc:chgData name="Vulluri, Akhila" userId="ee34657b-d571-4573-90b7-c782f19323b3" providerId="ADAL" clId="{C98C8EEB-8F14-4861-9126-CC09B2E8641E}" dt="2024-12-06T06:48:49.795" v="515" actId="1076"/>
        <pc:sldMkLst>
          <pc:docMk/>
          <pc:sldMk cId="2081218817" sldId="2145706699"/>
        </pc:sldMkLst>
      </pc:sldChg>
      <pc:sldChg chg="delSp modSp mod">
        <pc:chgData name="Vulluri, Akhila" userId="ee34657b-d571-4573-90b7-c782f19323b3" providerId="ADAL" clId="{C98C8EEB-8F14-4861-9126-CC09B2E8641E}" dt="2024-12-05T10:56:03.706" v="374" actId="20577"/>
        <pc:sldMkLst>
          <pc:docMk/>
          <pc:sldMk cId="1999325333" sldId="2145706702"/>
        </pc:sldMkLst>
      </pc:sldChg>
      <pc:sldChg chg="addSp delSp modSp mod">
        <pc:chgData name="Vulluri, Akhila" userId="ee34657b-d571-4573-90b7-c782f19323b3" providerId="ADAL" clId="{C98C8EEB-8F14-4861-9126-CC09B2E8641E}" dt="2024-12-06T06:51:52.610" v="540" actId="14100"/>
        <pc:sldMkLst>
          <pc:docMk/>
          <pc:sldMk cId="2979501138" sldId="2145706703"/>
        </pc:sldMkLst>
      </pc:sldChg>
      <pc:sldChg chg="new del">
        <pc:chgData name="Vulluri, Akhila" userId="ee34657b-d571-4573-90b7-c782f19323b3" providerId="ADAL" clId="{C98C8EEB-8F14-4861-9126-CC09B2E8641E}" dt="2024-12-05T10:39:13.558" v="314" actId="47"/>
        <pc:sldMkLst>
          <pc:docMk/>
          <pc:sldMk cId="3124311881" sldId="2145706705"/>
        </pc:sldMkLst>
      </pc:sldChg>
      <pc:sldChg chg="addSp delSp modSp new mod ord modClrScheme chgLayout">
        <pc:chgData name="Vulluri, Akhila" userId="ee34657b-d571-4573-90b7-c782f19323b3" providerId="ADAL" clId="{C98C8EEB-8F14-4861-9126-CC09B2E8641E}" dt="2024-12-06T06:02:13.651" v="416"/>
        <pc:sldMkLst>
          <pc:docMk/>
          <pc:sldMk cId="2528695157" sldId="2145706706"/>
        </pc:sldMkLst>
      </pc:sldChg>
      <pc:sldChg chg="addSp delSp modSp new mod">
        <pc:chgData name="Vulluri, Akhila" userId="ee34657b-d571-4573-90b7-c782f19323b3" providerId="ADAL" clId="{C98C8EEB-8F14-4861-9126-CC09B2E8641E}" dt="2024-12-06T06:50:34.008" v="528" actId="1076"/>
        <pc:sldMkLst>
          <pc:docMk/>
          <pc:sldMk cId="3372435550" sldId="2145706707"/>
        </pc:sldMkLst>
      </pc:sldChg>
    </pc:docChg>
  </pc:docChgLst>
  <pc:docChgLst>
    <pc:chgData name="Vulluri, Akhila" userId="ee34657b-d571-4573-90b7-c782f19323b3" providerId="ADAL" clId="{DF4FA4CD-A2A3-4725-AAA1-61E295168D40}"/>
    <pc:docChg chg="undo custSel addSld delSld modSld sldOrd modMainMaster">
      <pc:chgData name="Vulluri, Akhila" userId="ee34657b-d571-4573-90b7-c782f19323b3" providerId="ADAL" clId="{DF4FA4CD-A2A3-4725-AAA1-61E295168D40}" dt="2025-06-30T05:08:39.072" v="2354" actId="6549"/>
      <pc:docMkLst>
        <pc:docMk/>
      </pc:docMkLst>
      <pc:sldChg chg="del">
        <pc:chgData name="Vulluri, Akhila" userId="ee34657b-d571-4573-90b7-c782f19323b3" providerId="ADAL" clId="{DF4FA4CD-A2A3-4725-AAA1-61E295168D40}" dt="2025-06-04T06:47:46.167" v="70" actId="47"/>
        <pc:sldMkLst>
          <pc:docMk/>
          <pc:sldMk cId="2550309240" sldId="2653"/>
        </pc:sldMkLst>
      </pc:sldChg>
      <pc:sldChg chg="del">
        <pc:chgData name="Vulluri, Akhila" userId="ee34657b-d571-4573-90b7-c782f19323b3" providerId="ADAL" clId="{DF4FA4CD-A2A3-4725-AAA1-61E295168D40}" dt="2025-06-13T12:19:16.298" v="1055" actId="47"/>
        <pc:sldMkLst>
          <pc:docMk/>
          <pc:sldMk cId="539538189" sldId="2662"/>
        </pc:sldMkLst>
      </pc:sldChg>
      <pc:sldChg chg="addSp modSp mod ord modTransition modNotesTx">
        <pc:chgData name="Vulluri, Akhila" userId="ee34657b-d571-4573-90b7-c782f19323b3" providerId="ADAL" clId="{DF4FA4CD-A2A3-4725-AAA1-61E295168D40}" dt="2025-06-29T10:43:56.016" v="2276"/>
        <pc:sldMkLst>
          <pc:docMk/>
          <pc:sldMk cId="3786387889" sldId="2665"/>
        </pc:sldMkLst>
        <pc:spChg chg="mod">
          <ac:chgData name="Vulluri, Akhila" userId="ee34657b-d571-4573-90b7-c782f19323b3" providerId="ADAL" clId="{DF4FA4CD-A2A3-4725-AAA1-61E295168D40}" dt="2025-06-13T07:01:47.296" v="523" actId="1076"/>
          <ac:spMkLst>
            <pc:docMk/>
            <pc:sldMk cId="3786387889" sldId="2665"/>
            <ac:spMk id="5" creationId="{D2F00F0E-32C7-171C-04D1-C0E974014056}"/>
          </ac:spMkLst>
        </pc:spChg>
        <pc:spChg chg="mod">
          <ac:chgData name="Vulluri, Akhila" userId="ee34657b-d571-4573-90b7-c782f19323b3" providerId="ADAL" clId="{DF4FA4CD-A2A3-4725-AAA1-61E295168D40}" dt="2025-06-24T10:33:34.803" v="1871" actId="255"/>
          <ac:spMkLst>
            <pc:docMk/>
            <pc:sldMk cId="3786387889" sldId="2665"/>
            <ac:spMk id="6" creationId="{9B72701C-4BB3-9C0C-2075-0372CD7F2AD3}"/>
          </ac:spMkLst>
        </pc:spChg>
        <pc:picChg chg="mod">
          <ac:chgData name="Vulluri, Akhila" userId="ee34657b-d571-4573-90b7-c782f19323b3" providerId="ADAL" clId="{DF4FA4CD-A2A3-4725-AAA1-61E295168D40}" dt="2025-06-13T09:29:57.284" v="888" actId="1076"/>
          <ac:picMkLst>
            <pc:docMk/>
            <pc:sldMk cId="3786387889" sldId="2665"/>
            <ac:picMk id="7" creationId="{62950D05-B20B-2BAC-2DDD-A4184BA47F2A}"/>
          </ac:picMkLst>
        </pc:picChg>
        <pc:picChg chg="add mod">
          <ac:chgData name="Vulluri, Akhila" userId="ee34657b-d571-4573-90b7-c782f19323b3" providerId="ADAL" clId="{DF4FA4CD-A2A3-4725-AAA1-61E295168D40}" dt="2025-06-13T09:29:45.814" v="887" actId="1076"/>
          <ac:picMkLst>
            <pc:docMk/>
            <pc:sldMk cId="3786387889" sldId="2665"/>
            <ac:picMk id="7170" creationId="{B0A7C184-0554-720D-3B80-2D75520665CA}"/>
          </ac:picMkLst>
        </pc:picChg>
      </pc:sldChg>
      <pc:sldChg chg="delSp modSp add del mod modTransition modNotesTx">
        <pc:chgData name="Vulluri, Akhila" userId="ee34657b-d571-4573-90b7-c782f19323b3" providerId="ADAL" clId="{DF4FA4CD-A2A3-4725-AAA1-61E295168D40}" dt="2025-06-29T10:43:56.016" v="2276"/>
        <pc:sldMkLst>
          <pc:docMk/>
          <pc:sldMk cId="3724249930" sldId="2145706638"/>
        </pc:sldMkLst>
        <pc:spChg chg="mod">
          <ac:chgData name="Vulluri, Akhila" userId="ee34657b-d571-4573-90b7-c782f19323b3" providerId="ADAL" clId="{DF4FA4CD-A2A3-4725-AAA1-61E295168D40}" dt="2025-06-24T10:47:00.207" v="1922" actId="1076"/>
          <ac:spMkLst>
            <pc:docMk/>
            <pc:sldMk cId="3724249930" sldId="2145706638"/>
            <ac:spMk id="2" creationId="{C4B08C25-8F58-9F58-118E-2AF033901B63}"/>
          </ac:spMkLst>
        </pc:spChg>
        <pc:spChg chg="mod">
          <ac:chgData name="Vulluri, Akhila" userId="ee34657b-d571-4573-90b7-c782f19323b3" providerId="ADAL" clId="{DF4FA4CD-A2A3-4725-AAA1-61E295168D40}" dt="2025-06-24T10:46:18.504" v="1915" actId="20577"/>
          <ac:spMkLst>
            <pc:docMk/>
            <pc:sldMk cId="3724249930" sldId="2145706638"/>
            <ac:spMk id="17" creationId="{28084D06-4655-531E-C6FB-50A48C4A88C4}"/>
          </ac:spMkLst>
        </pc:spChg>
        <pc:picChg chg="mod">
          <ac:chgData name="Vulluri, Akhila" userId="ee34657b-d571-4573-90b7-c782f19323b3" providerId="ADAL" clId="{DF4FA4CD-A2A3-4725-AAA1-61E295168D40}" dt="2025-06-24T10:47:06.208" v="1923" actId="1076"/>
          <ac:picMkLst>
            <pc:docMk/>
            <pc:sldMk cId="3724249930" sldId="2145706638"/>
            <ac:picMk id="13" creationId="{671E9E82-859B-994A-F930-80D68626FE3D}"/>
          </ac:picMkLst>
        </pc:picChg>
      </pc:sldChg>
      <pc:sldChg chg="delSp modSp mod modTransition modNotesTx">
        <pc:chgData name="Vulluri, Akhila" userId="ee34657b-d571-4573-90b7-c782f19323b3" providerId="ADAL" clId="{DF4FA4CD-A2A3-4725-AAA1-61E295168D40}" dt="2025-06-30T05:00:36.715" v="2331" actId="20577"/>
        <pc:sldMkLst>
          <pc:docMk/>
          <pc:sldMk cId="1338321651" sldId="2145706640"/>
        </pc:sldMkLst>
        <pc:spChg chg="mod">
          <ac:chgData name="Vulluri, Akhila" userId="ee34657b-d571-4573-90b7-c782f19323b3" providerId="ADAL" clId="{DF4FA4CD-A2A3-4725-AAA1-61E295168D40}" dt="2025-06-16T09:21:08.257" v="1201" actId="1076"/>
          <ac:spMkLst>
            <pc:docMk/>
            <pc:sldMk cId="1338321651" sldId="2145706640"/>
            <ac:spMk id="3" creationId="{6D871570-FBB8-F282-1B97-65C16AE6C6F4}"/>
          </ac:spMkLst>
        </pc:spChg>
      </pc:sldChg>
      <pc:sldChg chg="addSp delSp modSp mod ord modTransition modNotesTx">
        <pc:chgData name="Vulluri, Akhila" userId="ee34657b-d571-4573-90b7-c782f19323b3" providerId="ADAL" clId="{DF4FA4CD-A2A3-4725-AAA1-61E295168D40}" dt="2025-06-29T10:43:56.016" v="2276"/>
        <pc:sldMkLst>
          <pc:docMk/>
          <pc:sldMk cId="1091889231" sldId="2145706641"/>
        </pc:sldMkLst>
        <pc:spChg chg="mod">
          <ac:chgData name="Vulluri, Akhila" userId="ee34657b-d571-4573-90b7-c782f19323b3" providerId="ADAL" clId="{DF4FA4CD-A2A3-4725-AAA1-61E295168D40}" dt="2025-06-12T09:30:59.770" v="351" actId="11"/>
          <ac:spMkLst>
            <pc:docMk/>
            <pc:sldMk cId="1091889231" sldId="2145706641"/>
            <ac:spMk id="3" creationId="{6D871570-FBB8-F282-1B97-65C16AE6C6F4}"/>
          </ac:spMkLst>
        </pc:spChg>
        <pc:picChg chg="add mod">
          <ac:chgData name="Vulluri, Akhila" userId="ee34657b-d571-4573-90b7-c782f19323b3" providerId="ADAL" clId="{DF4FA4CD-A2A3-4725-AAA1-61E295168D40}" dt="2025-06-12T09:29:57.207" v="299" actId="1076"/>
          <ac:picMkLst>
            <pc:docMk/>
            <pc:sldMk cId="1091889231" sldId="2145706641"/>
            <ac:picMk id="8" creationId="{30CEB5E0-6656-EFB3-D5D1-DFDF2CD297B3}"/>
          </ac:picMkLst>
        </pc:picChg>
      </pc:sldChg>
      <pc:sldChg chg="del">
        <pc:chgData name="Vulluri, Akhila" userId="ee34657b-d571-4573-90b7-c782f19323b3" providerId="ADAL" clId="{DF4FA4CD-A2A3-4725-AAA1-61E295168D40}" dt="2025-06-13T12:19:18.519" v="1057" actId="47"/>
        <pc:sldMkLst>
          <pc:docMk/>
          <pc:sldMk cId="3102137744" sldId="2145706643"/>
        </pc:sldMkLst>
      </pc:sldChg>
      <pc:sldChg chg="modSp add del mod ord modTransition modNotesTx">
        <pc:chgData name="Vulluri, Akhila" userId="ee34657b-d571-4573-90b7-c782f19323b3" providerId="ADAL" clId="{DF4FA4CD-A2A3-4725-AAA1-61E295168D40}" dt="2025-06-29T10:43:56.016" v="2276"/>
        <pc:sldMkLst>
          <pc:docMk/>
          <pc:sldMk cId="2005788358" sldId="2145706644"/>
        </pc:sldMkLst>
        <pc:spChg chg="mod">
          <ac:chgData name="Vulluri, Akhila" userId="ee34657b-d571-4573-90b7-c782f19323b3" providerId="ADAL" clId="{DF4FA4CD-A2A3-4725-AAA1-61E295168D40}" dt="2025-06-16T09:24:47.743" v="1228" actId="20577"/>
          <ac:spMkLst>
            <pc:docMk/>
            <pc:sldMk cId="2005788358" sldId="2145706644"/>
            <ac:spMk id="2" creationId="{1764FE9C-DDC0-AD7A-4A0D-EE34FF3A533D}"/>
          </ac:spMkLst>
        </pc:spChg>
        <pc:spChg chg="mod">
          <ac:chgData name="Vulluri, Akhila" userId="ee34657b-d571-4573-90b7-c782f19323b3" providerId="ADAL" clId="{DF4FA4CD-A2A3-4725-AAA1-61E295168D40}" dt="2025-06-13T12:19:41.373" v="1181" actId="20577"/>
          <ac:spMkLst>
            <pc:docMk/>
            <pc:sldMk cId="2005788358" sldId="2145706644"/>
            <ac:spMk id="5" creationId="{FDF083FA-74DC-8780-A00D-BE73201CFE57}"/>
          </ac:spMkLst>
        </pc:spChg>
      </pc:sldChg>
      <pc:sldChg chg="del">
        <pc:chgData name="Vulluri, Akhila" userId="ee34657b-d571-4573-90b7-c782f19323b3" providerId="ADAL" clId="{DF4FA4CD-A2A3-4725-AAA1-61E295168D40}" dt="2025-06-13T12:19:15.454" v="1054" actId="47"/>
        <pc:sldMkLst>
          <pc:docMk/>
          <pc:sldMk cId="2067391810" sldId="2145706645"/>
        </pc:sldMkLst>
      </pc:sldChg>
      <pc:sldChg chg="addSp delSp modSp mod modTransition modAnim modNotesTx">
        <pc:chgData name="Vulluri, Akhila" userId="ee34657b-d571-4573-90b7-c782f19323b3" providerId="ADAL" clId="{DF4FA4CD-A2A3-4725-AAA1-61E295168D40}" dt="2025-06-30T04:43:24.306" v="2295" actId="20577"/>
        <pc:sldMkLst>
          <pc:docMk/>
          <pc:sldMk cId="4043674719" sldId="2145706646"/>
        </pc:sldMkLst>
        <pc:spChg chg="add">
          <ac:chgData name="Vulluri, Akhila" userId="ee34657b-d571-4573-90b7-c782f19323b3" providerId="ADAL" clId="{DF4FA4CD-A2A3-4725-AAA1-61E295168D40}" dt="2025-06-12T09:25:40.168" v="242"/>
          <ac:spMkLst>
            <pc:docMk/>
            <pc:sldMk cId="4043674719" sldId="2145706646"/>
            <ac:spMk id="2" creationId="{5CC69E25-A54A-E4AB-C4D8-ED9402112AA6}"/>
          </ac:spMkLst>
        </pc:spChg>
        <pc:spChg chg="mod">
          <ac:chgData name="Vulluri, Akhila" userId="ee34657b-d571-4573-90b7-c782f19323b3" providerId="ADAL" clId="{DF4FA4CD-A2A3-4725-AAA1-61E295168D40}" dt="2025-06-04T06:37:31.055" v="7" actId="113"/>
          <ac:spMkLst>
            <pc:docMk/>
            <pc:sldMk cId="4043674719" sldId="2145706646"/>
            <ac:spMk id="4" creationId="{0A177A1A-8C70-65AE-8F14-7B6C7758F421}"/>
          </ac:spMkLst>
        </pc:spChg>
        <pc:spChg chg="mod">
          <ac:chgData name="Vulluri, Akhila" userId="ee34657b-d571-4573-90b7-c782f19323b3" providerId="ADAL" clId="{DF4FA4CD-A2A3-4725-AAA1-61E295168D40}" dt="2025-06-04T06:37:16.683" v="4" actId="2711"/>
          <ac:spMkLst>
            <pc:docMk/>
            <pc:sldMk cId="4043674719" sldId="2145706646"/>
            <ac:spMk id="5" creationId="{417AA630-C3BE-9264-E679-C00614D68506}"/>
          </ac:spMkLst>
        </pc:spChg>
        <pc:picChg chg="mod">
          <ac:chgData name="Vulluri, Akhila" userId="ee34657b-d571-4573-90b7-c782f19323b3" providerId="ADAL" clId="{DF4FA4CD-A2A3-4725-AAA1-61E295168D40}" dt="2025-06-24T10:39:23.094" v="1886" actId="1036"/>
          <ac:picMkLst>
            <pc:docMk/>
            <pc:sldMk cId="4043674719" sldId="2145706646"/>
            <ac:picMk id="7" creationId="{9AB398E5-0640-DCAA-A791-2D7104B71006}"/>
          </ac:picMkLst>
        </pc:picChg>
        <pc:picChg chg="add del mod">
          <ac:chgData name="Vulluri, Akhila" userId="ee34657b-d571-4573-90b7-c782f19323b3" providerId="ADAL" clId="{DF4FA4CD-A2A3-4725-AAA1-61E295168D40}" dt="2025-06-29T10:43:56.016" v="2276"/>
          <ac:picMkLst>
            <pc:docMk/>
            <pc:sldMk cId="4043674719" sldId="2145706646"/>
            <ac:picMk id="10" creationId="{7A346315-6033-2875-EC57-8EE68A8291D8}"/>
          </ac:picMkLst>
        </pc:picChg>
        <pc:picChg chg="add mod">
          <ac:chgData name="Vulluri, Akhila" userId="ee34657b-d571-4573-90b7-c782f19323b3" providerId="ADAL" clId="{DF4FA4CD-A2A3-4725-AAA1-61E295168D40}" dt="2025-06-29T10:10:36.421" v="2040" actId="1076"/>
          <ac:picMkLst>
            <pc:docMk/>
            <pc:sldMk cId="4043674719" sldId="2145706646"/>
            <ac:picMk id="20" creationId="{3FEDCD04-B992-A4F0-8F96-CFB57C2BAE31}"/>
          </ac:picMkLst>
        </pc:picChg>
      </pc:sldChg>
      <pc:sldChg chg="addSp delSp modSp mod modTransition modClrScheme chgLayout modNotesTx">
        <pc:chgData name="Vulluri, Akhila" userId="ee34657b-d571-4573-90b7-c782f19323b3" providerId="ADAL" clId="{DF4FA4CD-A2A3-4725-AAA1-61E295168D40}" dt="2025-06-29T10:43:56.016" v="2276"/>
        <pc:sldMkLst>
          <pc:docMk/>
          <pc:sldMk cId="1929102588" sldId="2145706649"/>
        </pc:sldMkLst>
        <pc:spChg chg="mod ord">
          <ac:chgData name="Vulluri, Akhila" userId="ee34657b-d571-4573-90b7-c782f19323b3" providerId="ADAL" clId="{DF4FA4CD-A2A3-4725-AAA1-61E295168D40}" dt="2025-06-13T09:31:45.088" v="894" actId="26606"/>
          <ac:spMkLst>
            <pc:docMk/>
            <pc:sldMk cId="1929102588" sldId="2145706649"/>
            <ac:spMk id="2" creationId="{CFD811EB-6283-40F4-AF28-479304873225}"/>
          </ac:spMkLst>
        </pc:spChg>
        <pc:spChg chg="mod">
          <ac:chgData name="Vulluri, Akhila" userId="ee34657b-d571-4573-90b7-c782f19323b3" providerId="ADAL" clId="{DF4FA4CD-A2A3-4725-AAA1-61E295168D40}" dt="2025-06-24T10:31:26.785" v="1854" actId="255"/>
          <ac:spMkLst>
            <pc:docMk/>
            <pc:sldMk cId="1929102588" sldId="2145706649"/>
            <ac:spMk id="3" creationId="{EEED96DD-0340-48A5-BA08-9D1265F1B26F}"/>
          </ac:spMkLst>
        </pc:spChg>
        <pc:picChg chg="add mod">
          <ac:chgData name="Vulluri, Akhila" userId="ee34657b-d571-4573-90b7-c782f19323b3" providerId="ADAL" clId="{DF4FA4CD-A2A3-4725-AAA1-61E295168D40}" dt="2025-06-13T09:31:45.088" v="894" actId="26606"/>
          <ac:picMkLst>
            <pc:docMk/>
            <pc:sldMk cId="1929102588" sldId="2145706649"/>
            <ac:picMk id="9218" creationId="{F74CB4C6-34D3-BACA-916B-8E0A616530B1}"/>
          </ac:picMkLst>
        </pc:picChg>
      </pc:sldChg>
      <pc:sldChg chg="addSp delSp modSp mod ord modTransition modClrScheme chgLayout modNotesTx">
        <pc:chgData name="Vulluri, Akhila" userId="ee34657b-d571-4573-90b7-c782f19323b3" providerId="ADAL" clId="{DF4FA4CD-A2A3-4725-AAA1-61E295168D40}" dt="2025-06-29T10:43:56.016" v="2276"/>
        <pc:sldMkLst>
          <pc:docMk/>
          <pc:sldMk cId="1593945711" sldId="2145706654"/>
        </pc:sldMkLst>
        <pc:spChg chg="add mod ord">
          <ac:chgData name="Vulluri, Akhila" userId="ee34657b-d571-4573-90b7-c782f19323b3" providerId="ADAL" clId="{DF4FA4CD-A2A3-4725-AAA1-61E295168D40}" dt="2025-06-24T10:31:38.419" v="1856" actId="255"/>
          <ac:spMkLst>
            <pc:docMk/>
            <pc:sldMk cId="1593945711" sldId="2145706654"/>
            <ac:spMk id="3" creationId="{91EB102B-18FA-A398-50F1-B05AD157CFD9}"/>
          </ac:spMkLst>
        </pc:spChg>
        <pc:spChg chg="mod">
          <ac:chgData name="Vulluri, Akhila" userId="ee34657b-d571-4573-90b7-c782f19323b3" providerId="ADAL" clId="{DF4FA4CD-A2A3-4725-AAA1-61E295168D40}" dt="2025-06-24T10:31:45.799" v="1858" actId="113"/>
          <ac:spMkLst>
            <pc:docMk/>
            <pc:sldMk cId="1593945711" sldId="2145706654"/>
            <ac:spMk id="16" creationId="{55E396BE-081B-25EA-EF3C-A8A0AB2AAD2A}"/>
          </ac:spMkLst>
        </pc:spChg>
        <pc:spChg chg="mod ord">
          <ac:chgData name="Vulluri, Akhila" userId="ee34657b-d571-4573-90b7-c782f19323b3" providerId="ADAL" clId="{DF4FA4CD-A2A3-4725-AAA1-61E295168D40}" dt="2025-06-04T06:51:48.470" v="94" actId="26606"/>
          <ac:spMkLst>
            <pc:docMk/>
            <pc:sldMk cId="1593945711" sldId="2145706654"/>
            <ac:spMk id="17" creationId="{1E0C41FE-CAC4-A1B4-26DC-6C5F6AC172FF}"/>
          </ac:spMkLst>
        </pc:spChg>
        <pc:picChg chg="add mod ord">
          <ac:chgData name="Vulluri, Akhila" userId="ee34657b-d571-4573-90b7-c782f19323b3" providerId="ADAL" clId="{DF4FA4CD-A2A3-4725-AAA1-61E295168D40}" dt="2025-06-24T10:18:14.336" v="1830" actId="26606"/>
          <ac:picMkLst>
            <pc:docMk/>
            <pc:sldMk cId="1593945711" sldId="2145706654"/>
            <ac:picMk id="1026" creationId="{39B03CE6-2D66-4853-89ED-FF3274D4A4B1}"/>
          </ac:picMkLst>
        </pc:picChg>
      </pc:sldChg>
      <pc:sldChg chg="del">
        <pc:chgData name="Vulluri, Akhila" userId="ee34657b-d571-4573-90b7-c782f19323b3" providerId="ADAL" clId="{DF4FA4CD-A2A3-4725-AAA1-61E295168D40}" dt="2025-06-04T06:46:25.227" v="44" actId="47"/>
        <pc:sldMkLst>
          <pc:docMk/>
          <pc:sldMk cId="500002867" sldId="2145706655"/>
        </pc:sldMkLst>
      </pc:sldChg>
      <pc:sldChg chg="del">
        <pc:chgData name="Vulluri, Akhila" userId="ee34657b-d571-4573-90b7-c782f19323b3" providerId="ADAL" clId="{DF4FA4CD-A2A3-4725-AAA1-61E295168D40}" dt="2025-06-04T06:46:29.795" v="47" actId="47"/>
        <pc:sldMkLst>
          <pc:docMk/>
          <pc:sldMk cId="361449313" sldId="2145706656"/>
        </pc:sldMkLst>
      </pc:sldChg>
      <pc:sldChg chg="del">
        <pc:chgData name="Vulluri, Akhila" userId="ee34657b-d571-4573-90b7-c782f19323b3" providerId="ADAL" clId="{DF4FA4CD-A2A3-4725-AAA1-61E295168D40}" dt="2025-06-04T06:46:32.951" v="49" actId="47"/>
        <pc:sldMkLst>
          <pc:docMk/>
          <pc:sldMk cId="1581162329" sldId="2145706657"/>
        </pc:sldMkLst>
      </pc:sldChg>
      <pc:sldChg chg="del">
        <pc:chgData name="Vulluri, Akhila" userId="ee34657b-d571-4573-90b7-c782f19323b3" providerId="ADAL" clId="{DF4FA4CD-A2A3-4725-AAA1-61E295168D40}" dt="2025-06-04T06:46:39.595" v="55" actId="47"/>
        <pc:sldMkLst>
          <pc:docMk/>
          <pc:sldMk cId="3460136827" sldId="2145706658"/>
        </pc:sldMkLst>
      </pc:sldChg>
      <pc:sldChg chg="del">
        <pc:chgData name="Vulluri, Akhila" userId="ee34657b-d571-4573-90b7-c782f19323b3" providerId="ADAL" clId="{DF4FA4CD-A2A3-4725-AAA1-61E295168D40}" dt="2025-06-04T06:46:55.116" v="62" actId="47"/>
        <pc:sldMkLst>
          <pc:docMk/>
          <pc:sldMk cId="2341296112" sldId="2145706659"/>
        </pc:sldMkLst>
      </pc:sldChg>
      <pc:sldChg chg="del ord">
        <pc:chgData name="Vulluri, Akhila" userId="ee34657b-d571-4573-90b7-c782f19323b3" providerId="ADAL" clId="{DF4FA4CD-A2A3-4725-AAA1-61E295168D40}" dt="2025-06-04T06:46:55.116" v="62" actId="47"/>
        <pc:sldMkLst>
          <pc:docMk/>
          <pc:sldMk cId="2105971821" sldId="2145706660"/>
        </pc:sldMkLst>
      </pc:sldChg>
      <pc:sldChg chg="del">
        <pc:chgData name="Vulluri, Akhila" userId="ee34657b-d571-4573-90b7-c782f19323b3" providerId="ADAL" clId="{DF4FA4CD-A2A3-4725-AAA1-61E295168D40}" dt="2025-06-04T06:46:26.018" v="45" actId="47"/>
        <pc:sldMkLst>
          <pc:docMk/>
          <pc:sldMk cId="3330236404" sldId="2145706661"/>
        </pc:sldMkLst>
      </pc:sldChg>
      <pc:sldChg chg="del">
        <pc:chgData name="Vulluri, Akhila" userId="ee34657b-d571-4573-90b7-c782f19323b3" providerId="ADAL" clId="{DF4FA4CD-A2A3-4725-AAA1-61E295168D40}" dt="2025-06-04T06:46:30.477" v="48" actId="47"/>
        <pc:sldMkLst>
          <pc:docMk/>
          <pc:sldMk cId="403399352" sldId="2145706662"/>
        </pc:sldMkLst>
      </pc:sldChg>
      <pc:sldChg chg="del">
        <pc:chgData name="Vulluri, Akhila" userId="ee34657b-d571-4573-90b7-c782f19323b3" providerId="ADAL" clId="{DF4FA4CD-A2A3-4725-AAA1-61E295168D40}" dt="2025-06-04T06:46:26.837" v="46" actId="47"/>
        <pc:sldMkLst>
          <pc:docMk/>
          <pc:sldMk cId="3226894735" sldId="2145706664"/>
        </pc:sldMkLst>
      </pc:sldChg>
      <pc:sldChg chg="del">
        <pc:chgData name="Vulluri, Akhila" userId="ee34657b-d571-4573-90b7-c782f19323b3" providerId="ADAL" clId="{DF4FA4CD-A2A3-4725-AAA1-61E295168D40}" dt="2025-06-04T06:46:33.509" v="50" actId="47"/>
        <pc:sldMkLst>
          <pc:docMk/>
          <pc:sldMk cId="4012187992" sldId="2145706665"/>
        </pc:sldMkLst>
      </pc:sldChg>
      <pc:sldChg chg="del">
        <pc:chgData name="Vulluri, Akhila" userId="ee34657b-d571-4573-90b7-c782f19323b3" providerId="ADAL" clId="{DF4FA4CD-A2A3-4725-AAA1-61E295168D40}" dt="2025-06-04T06:46:34.080" v="51" actId="47"/>
        <pc:sldMkLst>
          <pc:docMk/>
          <pc:sldMk cId="1916493433" sldId="2145706666"/>
        </pc:sldMkLst>
      </pc:sldChg>
      <pc:sldChg chg="del">
        <pc:chgData name="Vulluri, Akhila" userId="ee34657b-d571-4573-90b7-c782f19323b3" providerId="ADAL" clId="{DF4FA4CD-A2A3-4725-AAA1-61E295168D40}" dt="2025-06-04T06:46:40.261" v="56" actId="47"/>
        <pc:sldMkLst>
          <pc:docMk/>
          <pc:sldMk cId="1543284878" sldId="2145706667"/>
        </pc:sldMkLst>
      </pc:sldChg>
      <pc:sldChg chg="del">
        <pc:chgData name="Vulluri, Akhila" userId="ee34657b-d571-4573-90b7-c782f19323b3" providerId="ADAL" clId="{DF4FA4CD-A2A3-4725-AAA1-61E295168D40}" dt="2025-06-04T06:46:40.903" v="57" actId="47"/>
        <pc:sldMkLst>
          <pc:docMk/>
          <pc:sldMk cId="4286631755" sldId="2145706668"/>
        </pc:sldMkLst>
      </pc:sldChg>
      <pc:sldChg chg="del">
        <pc:chgData name="Vulluri, Akhila" userId="ee34657b-d571-4573-90b7-c782f19323b3" providerId="ADAL" clId="{DF4FA4CD-A2A3-4725-AAA1-61E295168D40}" dt="2025-06-04T06:46:41.513" v="58" actId="47"/>
        <pc:sldMkLst>
          <pc:docMk/>
          <pc:sldMk cId="417748797" sldId="2145706669"/>
        </pc:sldMkLst>
      </pc:sldChg>
      <pc:sldChg chg="del">
        <pc:chgData name="Vulluri, Akhila" userId="ee34657b-d571-4573-90b7-c782f19323b3" providerId="ADAL" clId="{DF4FA4CD-A2A3-4725-AAA1-61E295168D40}" dt="2025-06-04T06:46:42.689" v="59" actId="47"/>
        <pc:sldMkLst>
          <pc:docMk/>
          <pc:sldMk cId="176784036" sldId="2145706670"/>
        </pc:sldMkLst>
      </pc:sldChg>
      <pc:sldChg chg="del">
        <pc:chgData name="Vulluri, Akhila" userId="ee34657b-d571-4573-90b7-c782f19323b3" providerId="ADAL" clId="{DF4FA4CD-A2A3-4725-AAA1-61E295168D40}" dt="2025-06-04T06:46:34.644" v="52" actId="47"/>
        <pc:sldMkLst>
          <pc:docMk/>
          <pc:sldMk cId="3907411311" sldId="2145706671"/>
        </pc:sldMkLst>
      </pc:sldChg>
      <pc:sldChg chg="del">
        <pc:chgData name="Vulluri, Akhila" userId="ee34657b-d571-4573-90b7-c782f19323b3" providerId="ADAL" clId="{DF4FA4CD-A2A3-4725-AAA1-61E295168D40}" dt="2025-06-04T06:46:55.116" v="62" actId="47"/>
        <pc:sldMkLst>
          <pc:docMk/>
          <pc:sldMk cId="3594021696" sldId="2145706672"/>
        </pc:sldMkLst>
      </pc:sldChg>
      <pc:sldChg chg="del">
        <pc:chgData name="Vulluri, Akhila" userId="ee34657b-d571-4573-90b7-c782f19323b3" providerId="ADAL" clId="{DF4FA4CD-A2A3-4725-AAA1-61E295168D40}" dt="2025-06-04T06:47:00.773" v="63" actId="47"/>
        <pc:sldMkLst>
          <pc:docMk/>
          <pc:sldMk cId="3940142805" sldId="2145706673"/>
        </pc:sldMkLst>
      </pc:sldChg>
      <pc:sldChg chg="del">
        <pc:chgData name="Vulluri, Akhila" userId="ee34657b-d571-4573-90b7-c782f19323b3" providerId="ADAL" clId="{DF4FA4CD-A2A3-4725-AAA1-61E295168D40}" dt="2025-06-04T06:46:55.116" v="62" actId="47"/>
        <pc:sldMkLst>
          <pc:docMk/>
          <pc:sldMk cId="922718945" sldId="2145706674"/>
        </pc:sldMkLst>
      </pc:sldChg>
      <pc:sldChg chg="del">
        <pc:chgData name="Vulluri, Akhila" userId="ee34657b-d571-4573-90b7-c782f19323b3" providerId="ADAL" clId="{DF4FA4CD-A2A3-4725-AAA1-61E295168D40}" dt="2025-06-04T06:47:00.773" v="63" actId="47"/>
        <pc:sldMkLst>
          <pc:docMk/>
          <pc:sldMk cId="875613087" sldId="2145706675"/>
        </pc:sldMkLst>
      </pc:sldChg>
      <pc:sldChg chg="del">
        <pc:chgData name="Vulluri, Akhila" userId="ee34657b-d571-4573-90b7-c782f19323b3" providerId="ADAL" clId="{DF4FA4CD-A2A3-4725-AAA1-61E295168D40}" dt="2025-06-04T06:47:00.773" v="63" actId="47"/>
        <pc:sldMkLst>
          <pc:docMk/>
          <pc:sldMk cId="1635904605" sldId="2145706676"/>
        </pc:sldMkLst>
      </pc:sldChg>
      <pc:sldChg chg="del">
        <pc:chgData name="Vulluri, Akhila" userId="ee34657b-d571-4573-90b7-c782f19323b3" providerId="ADAL" clId="{DF4FA4CD-A2A3-4725-AAA1-61E295168D40}" dt="2025-06-04T06:47:46.167" v="70" actId="47"/>
        <pc:sldMkLst>
          <pc:docMk/>
          <pc:sldMk cId="2149208639" sldId="2145706677"/>
        </pc:sldMkLst>
      </pc:sldChg>
      <pc:sldChg chg="del">
        <pc:chgData name="Vulluri, Akhila" userId="ee34657b-d571-4573-90b7-c782f19323b3" providerId="ADAL" clId="{DF4FA4CD-A2A3-4725-AAA1-61E295168D40}" dt="2025-06-04T06:47:46.167" v="70" actId="47"/>
        <pc:sldMkLst>
          <pc:docMk/>
          <pc:sldMk cId="287635208" sldId="2145706678"/>
        </pc:sldMkLst>
      </pc:sldChg>
      <pc:sldChg chg="del">
        <pc:chgData name="Vulluri, Akhila" userId="ee34657b-d571-4573-90b7-c782f19323b3" providerId="ADAL" clId="{DF4FA4CD-A2A3-4725-AAA1-61E295168D40}" dt="2025-06-04T06:47:46.167" v="70" actId="47"/>
        <pc:sldMkLst>
          <pc:docMk/>
          <pc:sldMk cId="318228989" sldId="2145706679"/>
        </pc:sldMkLst>
      </pc:sldChg>
      <pc:sldChg chg="del">
        <pc:chgData name="Vulluri, Akhila" userId="ee34657b-d571-4573-90b7-c782f19323b3" providerId="ADAL" clId="{DF4FA4CD-A2A3-4725-AAA1-61E295168D40}" dt="2025-06-04T06:47:46.167" v="70" actId="47"/>
        <pc:sldMkLst>
          <pc:docMk/>
          <pc:sldMk cId="1562774045" sldId="2145706680"/>
        </pc:sldMkLst>
      </pc:sldChg>
      <pc:sldChg chg="del">
        <pc:chgData name="Vulluri, Akhila" userId="ee34657b-d571-4573-90b7-c782f19323b3" providerId="ADAL" clId="{DF4FA4CD-A2A3-4725-AAA1-61E295168D40}" dt="2025-06-13T12:19:19.310" v="1058" actId="47"/>
        <pc:sldMkLst>
          <pc:docMk/>
          <pc:sldMk cId="2214106006" sldId="2145706681"/>
        </pc:sldMkLst>
      </pc:sldChg>
      <pc:sldChg chg="del">
        <pc:chgData name="Vulluri, Akhila" userId="ee34657b-d571-4573-90b7-c782f19323b3" providerId="ADAL" clId="{DF4FA4CD-A2A3-4725-AAA1-61E295168D40}" dt="2025-06-04T06:47:40.497" v="69" actId="47"/>
        <pc:sldMkLst>
          <pc:docMk/>
          <pc:sldMk cId="3532243459" sldId="2145706683"/>
        </pc:sldMkLst>
      </pc:sldChg>
      <pc:sldChg chg="del">
        <pc:chgData name="Vulluri, Akhila" userId="ee34657b-d571-4573-90b7-c782f19323b3" providerId="ADAL" clId="{DF4FA4CD-A2A3-4725-AAA1-61E295168D40}" dt="2025-06-04T06:47:40.497" v="69" actId="47"/>
        <pc:sldMkLst>
          <pc:docMk/>
          <pc:sldMk cId="2986404614" sldId="2145706684"/>
        </pc:sldMkLst>
      </pc:sldChg>
      <pc:sldChg chg="del">
        <pc:chgData name="Vulluri, Akhila" userId="ee34657b-d571-4573-90b7-c782f19323b3" providerId="ADAL" clId="{DF4FA4CD-A2A3-4725-AAA1-61E295168D40}" dt="2025-06-04T06:47:40.497" v="69" actId="47"/>
        <pc:sldMkLst>
          <pc:docMk/>
          <pc:sldMk cId="1680626841" sldId="2145706685"/>
        </pc:sldMkLst>
      </pc:sldChg>
      <pc:sldChg chg="del">
        <pc:chgData name="Vulluri, Akhila" userId="ee34657b-d571-4573-90b7-c782f19323b3" providerId="ADAL" clId="{DF4FA4CD-A2A3-4725-AAA1-61E295168D40}" dt="2025-06-04T06:47:40.497" v="69" actId="47"/>
        <pc:sldMkLst>
          <pc:docMk/>
          <pc:sldMk cId="356010755" sldId="2145706686"/>
        </pc:sldMkLst>
      </pc:sldChg>
      <pc:sldChg chg="add del">
        <pc:chgData name="Vulluri, Akhila" userId="ee34657b-d571-4573-90b7-c782f19323b3" providerId="ADAL" clId="{DF4FA4CD-A2A3-4725-AAA1-61E295168D40}" dt="2025-06-13T12:19:20.014" v="1059" actId="47"/>
        <pc:sldMkLst>
          <pc:docMk/>
          <pc:sldMk cId="955405346" sldId="2145706687"/>
        </pc:sldMkLst>
      </pc:sldChg>
      <pc:sldChg chg="del">
        <pc:chgData name="Vulluri, Akhila" userId="ee34657b-d571-4573-90b7-c782f19323b3" providerId="ADAL" clId="{DF4FA4CD-A2A3-4725-AAA1-61E295168D40}" dt="2025-06-04T06:47:36.532" v="68" actId="47"/>
        <pc:sldMkLst>
          <pc:docMk/>
          <pc:sldMk cId="3624424714" sldId="2145706688"/>
        </pc:sldMkLst>
      </pc:sldChg>
      <pc:sldChg chg="del">
        <pc:chgData name="Vulluri, Akhila" userId="ee34657b-d571-4573-90b7-c782f19323b3" providerId="ADAL" clId="{DF4FA4CD-A2A3-4725-AAA1-61E295168D40}" dt="2025-06-04T06:47:36.532" v="68" actId="47"/>
        <pc:sldMkLst>
          <pc:docMk/>
          <pc:sldMk cId="950420605" sldId="2145706689"/>
        </pc:sldMkLst>
      </pc:sldChg>
      <pc:sldChg chg="del">
        <pc:chgData name="Vulluri, Akhila" userId="ee34657b-d571-4573-90b7-c782f19323b3" providerId="ADAL" clId="{DF4FA4CD-A2A3-4725-AAA1-61E295168D40}" dt="2025-06-04T06:47:36.532" v="68" actId="47"/>
        <pc:sldMkLst>
          <pc:docMk/>
          <pc:sldMk cId="3471608763" sldId="2145706690"/>
        </pc:sldMkLst>
      </pc:sldChg>
      <pc:sldChg chg="del">
        <pc:chgData name="Vulluri, Akhila" userId="ee34657b-d571-4573-90b7-c782f19323b3" providerId="ADAL" clId="{DF4FA4CD-A2A3-4725-AAA1-61E295168D40}" dt="2025-06-04T06:47:36.532" v="68" actId="47"/>
        <pc:sldMkLst>
          <pc:docMk/>
          <pc:sldMk cId="1816425673" sldId="2145706691"/>
        </pc:sldMkLst>
      </pc:sldChg>
      <pc:sldChg chg="del">
        <pc:chgData name="Vulluri, Akhila" userId="ee34657b-d571-4573-90b7-c782f19323b3" providerId="ADAL" clId="{DF4FA4CD-A2A3-4725-AAA1-61E295168D40}" dt="2025-06-04T06:47:36.532" v="68" actId="47"/>
        <pc:sldMkLst>
          <pc:docMk/>
          <pc:sldMk cId="721271162" sldId="2145706692"/>
        </pc:sldMkLst>
      </pc:sldChg>
      <pc:sldChg chg="del">
        <pc:chgData name="Vulluri, Akhila" userId="ee34657b-d571-4573-90b7-c782f19323b3" providerId="ADAL" clId="{DF4FA4CD-A2A3-4725-AAA1-61E295168D40}" dt="2025-06-04T06:47:36.532" v="68" actId="47"/>
        <pc:sldMkLst>
          <pc:docMk/>
          <pc:sldMk cId="799445431" sldId="2145706693"/>
        </pc:sldMkLst>
      </pc:sldChg>
      <pc:sldChg chg="add del">
        <pc:chgData name="Vulluri, Akhila" userId="ee34657b-d571-4573-90b7-c782f19323b3" providerId="ADAL" clId="{DF4FA4CD-A2A3-4725-AAA1-61E295168D40}" dt="2025-06-13T12:19:11.090" v="1053" actId="47"/>
        <pc:sldMkLst>
          <pc:docMk/>
          <pc:sldMk cId="887218093" sldId="2145706694"/>
        </pc:sldMkLst>
      </pc:sldChg>
      <pc:sldChg chg="del">
        <pc:chgData name="Vulluri, Akhila" userId="ee34657b-d571-4573-90b7-c782f19323b3" providerId="ADAL" clId="{DF4FA4CD-A2A3-4725-AAA1-61E295168D40}" dt="2025-06-04T06:47:28.867" v="67" actId="47"/>
        <pc:sldMkLst>
          <pc:docMk/>
          <pc:sldMk cId="3671287398" sldId="2145706696"/>
        </pc:sldMkLst>
      </pc:sldChg>
      <pc:sldChg chg="del">
        <pc:chgData name="Vulluri, Akhila" userId="ee34657b-d571-4573-90b7-c782f19323b3" providerId="ADAL" clId="{DF4FA4CD-A2A3-4725-AAA1-61E295168D40}" dt="2025-06-04T06:47:28.867" v="67" actId="47"/>
        <pc:sldMkLst>
          <pc:docMk/>
          <pc:sldMk cId="2851479306" sldId="2145706697"/>
        </pc:sldMkLst>
      </pc:sldChg>
      <pc:sldChg chg="del">
        <pc:chgData name="Vulluri, Akhila" userId="ee34657b-d571-4573-90b7-c782f19323b3" providerId="ADAL" clId="{DF4FA4CD-A2A3-4725-AAA1-61E295168D40}" dt="2025-06-04T06:47:28.867" v="67" actId="47"/>
        <pc:sldMkLst>
          <pc:docMk/>
          <pc:sldMk cId="573567984" sldId="2145706698"/>
        </pc:sldMkLst>
      </pc:sldChg>
      <pc:sldChg chg="del">
        <pc:chgData name="Vulluri, Akhila" userId="ee34657b-d571-4573-90b7-c782f19323b3" providerId="ADAL" clId="{DF4FA4CD-A2A3-4725-AAA1-61E295168D40}" dt="2025-06-04T06:47:28.867" v="67" actId="47"/>
        <pc:sldMkLst>
          <pc:docMk/>
          <pc:sldMk cId="2081218817" sldId="2145706699"/>
        </pc:sldMkLst>
      </pc:sldChg>
      <pc:sldChg chg="del">
        <pc:chgData name="Vulluri, Akhila" userId="ee34657b-d571-4573-90b7-c782f19323b3" providerId="ADAL" clId="{DF4FA4CD-A2A3-4725-AAA1-61E295168D40}" dt="2025-06-13T12:18:58.797" v="1046" actId="47"/>
        <pc:sldMkLst>
          <pc:docMk/>
          <pc:sldMk cId="3978001158" sldId="2145706700"/>
        </pc:sldMkLst>
      </pc:sldChg>
      <pc:sldChg chg="del ord">
        <pc:chgData name="Vulluri, Akhila" userId="ee34657b-d571-4573-90b7-c782f19323b3" providerId="ADAL" clId="{DF4FA4CD-A2A3-4725-AAA1-61E295168D40}" dt="2025-06-04T06:47:23.613" v="66" actId="47"/>
        <pc:sldMkLst>
          <pc:docMk/>
          <pc:sldMk cId="1999325333" sldId="2145706702"/>
        </pc:sldMkLst>
      </pc:sldChg>
      <pc:sldChg chg="del">
        <pc:chgData name="Vulluri, Akhila" userId="ee34657b-d571-4573-90b7-c782f19323b3" providerId="ADAL" clId="{DF4FA4CD-A2A3-4725-AAA1-61E295168D40}" dt="2025-06-04T06:47:23.613" v="66" actId="47"/>
        <pc:sldMkLst>
          <pc:docMk/>
          <pc:sldMk cId="2979501138" sldId="2145706703"/>
        </pc:sldMkLst>
      </pc:sldChg>
      <pc:sldChg chg="del">
        <pc:chgData name="Vulluri, Akhila" userId="ee34657b-d571-4573-90b7-c782f19323b3" providerId="ADAL" clId="{DF4FA4CD-A2A3-4725-AAA1-61E295168D40}" dt="2025-06-04T06:47:23.613" v="66" actId="47"/>
        <pc:sldMkLst>
          <pc:docMk/>
          <pc:sldMk cId="2619253734" sldId="2145706704"/>
        </pc:sldMkLst>
      </pc:sldChg>
      <pc:sldChg chg="del">
        <pc:chgData name="Vulluri, Akhila" userId="ee34657b-d571-4573-90b7-c782f19323b3" providerId="ADAL" clId="{DF4FA4CD-A2A3-4725-AAA1-61E295168D40}" dt="2025-06-13T12:19:17.232" v="1056" actId="47"/>
        <pc:sldMkLst>
          <pc:docMk/>
          <pc:sldMk cId="2528695157" sldId="2145706706"/>
        </pc:sldMkLst>
      </pc:sldChg>
      <pc:sldChg chg="addSp delSp modSp new mod modTransition modClrScheme chgLayout modNotesTx">
        <pc:chgData name="Vulluri, Akhila" userId="ee34657b-d571-4573-90b7-c782f19323b3" providerId="ADAL" clId="{DF4FA4CD-A2A3-4725-AAA1-61E295168D40}" dt="2025-06-29T10:43:56.016" v="2276"/>
        <pc:sldMkLst>
          <pc:docMk/>
          <pc:sldMk cId="2047253881" sldId="2145706707"/>
        </pc:sldMkLst>
        <pc:spChg chg="mod ord">
          <ac:chgData name="Vulluri, Akhila" userId="ee34657b-d571-4573-90b7-c782f19323b3" providerId="ADAL" clId="{DF4FA4CD-A2A3-4725-AAA1-61E295168D40}" dt="2025-06-24T10:32:52.901" v="1868" actId="1076"/>
          <ac:spMkLst>
            <pc:docMk/>
            <pc:sldMk cId="2047253881" sldId="2145706707"/>
            <ac:spMk id="2" creationId="{3E8263B5-B71D-1BB5-85C6-8967F7629BE0}"/>
          </ac:spMkLst>
        </pc:spChg>
        <pc:spChg chg="add mod">
          <ac:chgData name="Vulluri, Akhila" userId="ee34657b-d571-4573-90b7-c782f19323b3" providerId="ADAL" clId="{DF4FA4CD-A2A3-4725-AAA1-61E295168D40}" dt="2025-06-26T06:41:43.234" v="2039" actId="14100"/>
          <ac:spMkLst>
            <pc:docMk/>
            <pc:sldMk cId="2047253881" sldId="2145706707"/>
            <ac:spMk id="3" creationId="{949C9C37-9D10-0E10-2219-4C09820CDB16}"/>
          </ac:spMkLst>
        </pc:spChg>
        <pc:spChg chg="add ord">
          <ac:chgData name="Vulluri, Akhila" userId="ee34657b-d571-4573-90b7-c782f19323b3" providerId="ADAL" clId="{DF4FA4CD-A2A3-4725-AAA1-61E295168D40}" dt="2025-06-12T07:24:21.696" v="130" actId="26606"/>
          <ac:spMkLst>
            <pc:docMk/>
            <pc:sldMk cId="2047253881" sldId="2145706707"/>
            <ac:spMk id="4" creationId="{C15FB94C-7D5B-8935-76A9-DFEF5B31CD36}"/>
          </ac:spMkLst>
        </pc:spChg>
        <pc:picChg chg="add mod">
          <ac:chgData name="Vulluri, Akhila" userId="ee34657b-d571-4573-90b7-c782f19323b3" providerId="ADAL" clId="{DF4FA4CD-A2A3-4725-AAA1-61E295168D40}" dt="2025-06-26T06:41:36.940" v="2038" actId="14100"/>
          <ac:picMkLst>
            <pc:docMk/>
            <pc:sldMk cId="2047253881" sldId="2145706707"/>
            <ac:picMk id="6148" creationId="{72D9FE1F-F64C-B931-10E6-077AF6D4C9F2}"/>
          </ac:picMkLst>
        </pc:picChg>
      </pc:sldChg>
      <pc:sldChg chg="del">
        <pc:chgData name="Vulluri, Akhila" userId="ee34657b-d571-4573-90b7-c782f19323b3" providerId="ADAL" clId="{DF4FA4CD-A2A3-4725-AAA1-61E295168D40}" dt="2025-06-04T06:47:23.613" v="66" actId="47"/>
        <pc:sldMkLst>
          <pc:docMk/>
          <pc:sldMk cId="3372435550" sldId="2145706707"/>
        </pc:sldMkLst>
      </pc:sldChg>
      <pc:sldChg chg="addSp delSp modSp add mod modTransition modNotesTx">
        <pc:chgData name="Vulluri, Akhila" userId="ee34657b-d571-4573-90b7-c782f19323b3" providerId="ADAL" clId="{DF4FA4CD-A2A3-4725-AAA1-61E295168D40}" dt="2025-06-29T10:43:56.016" v="2276"/>
        <pc:sldMkLst>
          <pc:docMk/>
          <pc:sldMk cId="3438106699" sldId="2145706708"/>
        </pc:sldMkLst>
        <pc:spChg chg="mod">
          <ac:chgData name="Vulluri, Akhila" userId="ee34657b-d571-4573-90b7-c782f19323b3" providerId="ADAL" clId="{DF4FA4CD-A2A3-4725-AAA1-61E295168D40}" dt="2025-06-12T07:03:52.666" v="112"/>
          <ac:spMkLst>
            <pc:docMk/>
            <pc:sldMk cId="3438106699" sldId="2145706708"/>
            <ac:spMk id="2" creationId="{B574A709-22EF-7732-9E3A-7B7438EEF6DA}"/>
          </ac:spMkLst>
        </pc:spChg>
        <pc:spChg chg="add mod">
          <ac:chgData name="Vulluri, Akhila" userId="ee34657b-d571-4573-90b7-c782f19323b3" providerId="ADAL" clId="{DF4FA4CD-A2A3-4725-AAA1-61E295168D40}" dt="2025-06-24T10:33:00.773" v="1869" actId="2711"/>
          <ac:spMkLst>
            <pc:docMk/>
            <pc:sldMk cId="3438106699" sldId="2145706708"/>
            <ac:spMk id="5" creationId="{02B11CF8-B60C-1A4E-D7DA-9486D97DF2C6}"/>
          </ac:spMkLst>
        </pc:spChg>
        <pc:spChg chg="add">
          <ac:chgData name="Vulluri, Akhila" userId="ee34657b-d571-4573-90b7-c782f19323b3" providerId="ADAL" clId="{DF4FA4CD-A2A3-4725-AAA1-61E295168D40}" dt="2025-06-12T07:20:42.188" v="125"/>
          <ac:spMkLst>
            <pc:docMk/>
            <pc:sldMk cId="3438106699" sldId="2145706708"/>
            <ac:spMk id="6" creationId="{48E6117A-9A45-28FB-7629-DBD8E6AC16FE}"/>
          </ac:spMkLst>
        </pc:spChg>
        <pc:spChg chg="add mod">
          <ac:chgData name="Vulluri, Akhila" userId="ee34657b-d571-4573-90b7-c782f19323b3" providerId="ADAL" clId="{DF4FA4CD-A2A3-4725-AAA1-61E295168D40}" dt="2025-06-12T07:20:45.006" v="126"/>
          <ac:spMkLst>
            <pc:docMk/>
            <pc:sldMk cId="3438106699" sldId="2145706708"/>
            <ac:spMk id="7" creationId="{6E9E0C89-1C22-DA6D-6E5C-042395B17763}"/>
          </ac:spMkLst>
        </pc:spChg>
        <pc:picChg chg="add mod">
          <ac:chgData name="Vulluri, Akhila" userId="ee34657b-d571-4573-90b7-c782f19323b3" providerId="ADAL" clId="{DF4FA4CD-A2A3-4725-AAA1-61E295168D40}" dt="2025-06-13T09:28:21.853" v="883" actId="1076"/>
          <ac:picMkLst>
            <pc:docMk/>
            <pc:sldMk cId="3438106699" sldId="2145706708"/>
            <ac:picMk id="1026" creationId="{298E33E3-A23B-16AC-546D-36EB76D9DA64}"/>
          </ac:picMkLst>
        </pc:picChg>
        <pc:picChg chg="add mod">
          <ac:chgData name="Vulluri, Akhila" userId="ee34657b-d571-4573-90b7-c782f19323b3" providerId="ADAL" clId="{DF4FA4CD-A2A3-4725-AAA1-61E295168D40}" dt="2025-06-13T09:27:58.718" v="877" actId="1076"/>
          <ac:picMkLst>
            <pc:docMk/>
            <pc:sldMk cId="3438106699" sldId="2145706708"/>
            <ac:picMk id="6146" creationId="{1CF19F3E-79EE-EB1D-FB86-0D7AD13F1BF8}"/>
          </ac:picMkLst>
        </pc:picChg>
      </pc:sldChg>
      <pc:sldChg chg="addSp delSp modSp add mod ord modTransition modClrScheme modShow chgLayout modNotesTx">
        <pc:chgData name="Vulluri, Akhila" userId="ee34657b-d571-4573-90b7-c782f19323b3" providerId="ADAL" clId="{DF4FA4CD-A2A3-4725-AAA1-61E295168D40}" dt="2025-06-30T05:03:29.556" v="2334" actId="729"/>
        <pc:sldMkLst>
          <pc:docMk/>
          <pc:sldMk cId="557952547" sldId="2145706709"/>
        </pc:sldMkLst>
        <pc:spChg chg="add mod">
          <ac:chgData name="Vulluri, Akhila" userId="ee34657b-d571-4573-90b7-c782f19323b3" providerId="ADAL" clId="{DF4FA4CD-A2A3-4725-AAA1-61E295168D40}" dt="2025-06-12T09:50:37.672" v="443" actId="21"/>
          <ac:spMkLst>
            <pc:docMk/>
            <pc:sldMk cId="557952547" sldId="2145706709"/>
            <ac:spMk id="5" creationId="{590A50AA-A426-5973-4CBF-39A975E57555}"/>
          </ac:spMkLst>
        </pc:spChg>
        <pc:spChg chg="add mod">
          <ac:chgData name="Vulluri, Akhila" userId="ee34657b-d571-4573-90b7-c782f19323b3" providerId="ADAL" clId="{DF4FA4CD-A2A3-4725-AAA1-61E295168D40}" dt="2025-06-12T09:50:47.248" v="446" actId="14100"/>
          <ac:spMkLst>
            <pc:docMk/>
            <pc:sldMk cId="557952547" sldId="2145706709"/>
            <ac:spMk id="7" creationId="{6191017B-7426-CFA5-EE0E-7FCAE4A13E6B}"/>
          </ac:spMkLst>
        </pc:spChg>
        <pc:picChg chg="add mod">
          <ac:chgData name="Vulluri, Akhila" userId="ee34657b-d571-4573-90b7-c782f19323b3" providerId="ADAL" clId="{DF4FA4CD-A2A3-4725-AAA1-61E295168D40}" dt="2025-06-12T09:49:50.455" v="437" actId="962"/>
          <ac:picMkLst>
            <pc:docMk/>
            <pc:sldMk cId="557952547" sldId="2145706709"/>
            <ac:picMk id="3" creationId="{DC3FEA2E-A5AE-DC28-8B20-A3A8FC157DDF}"/>
          </ac:picMkLst>
        </pc:picChg>
      </pc:sldChg>
      <pc:sldChg chg="addSp delSp modSp add mod ord modTransition modClrScheme chgLayout modNotesTx">
        <pc:chgData name="Vulluri, Akhila" userId="ee34657b-d571-4573-90b7-c782f19323b3" providerId="ADAL" clId="{DF4FA4CD-A2A3-4725-AAA1-61E295168D40}" dt="2025-06-29T10:43:56.016" v="2276"/>
        <pc:sldMkLst>
          <pc:docMk/>
          <pc:sldMk cId="3488773800" sldId="2145706710"/>
        </pc:sldMkLst>
        <pc:spChg chg="mod">
          <ac:chgData name="Vulluri, Akhila" userId="ee34657b-d571-4573-90b7-c782f19323b3" providerId="ADAL" clId="{DF4FA4CD-A2A3-4725-AAA1-61E295168D40}" dt="2025-06-12T09:23:57.612" v="239" actId="1076"/>
          <ac:spMkLst>
            <pc:docMk/>
            <pc:sldMk cId="3488773800" sldId="2145706710"/>
            <ac:spMk id="2" creationId="{D51E387B-BE8D-CD10-6AB5-AC0F40EBE422}"/>
          </ac:spMkLst>
        </pc:spChg>
        <pc:spChg chg="add mod">
          <ac:chgData name="Vulluri, Akhila" userId="ee34657b-d571-4573-90b7-c782f19323b3" providerId="ADAL" clId="{DF4FA4CD-A2A3-4725-AAA1-61E295168D40}" dt="2025-06-24T10:40:22.976" v="1890" actId="2711"/>
          <ac:spMkLst>
            <pc:docMk/>
            <pc:sldMk cId="3488773800" sldId="2145706710"/>
            <ac:spMk id="6" creationId="{438FBF44-2BFC-CCE6-D3FA-63C12C7A1BA2}"/>
          </ac:spMkLst>
        </pc:spChg>
        <pc:picChg chg="add mod">
          <ac:chgData name="Vulluri, Akhila" userId="ee34657b-d571-4573-90b7-c782f19323b3" providerId="ADAL" clId="{DF4FA4CD-A2A3-4725-AAA1-61E295168D40}" dt="2025-06-12T09:23:51.341" v="238" actId="14100"/>
          <ac:picMkLst>
            <pc:docMk/>
            <pc:sldMk cId="3488773800" sldId="2145706710"/>
            <ac:picMk id="10" creationId="{EECAD440-3D27-B54F-D16E-576B2507819F}"/>
          </ac:picMkLst>
        </pc:picChg>
      </pc:sldChg>
      <pc:sldChg chg="new del">
        <pc:chgData name="Vulluri, Akhila" userId="ee34657b-d571-4573-90b7-c782f19323b3" providerId="ADAL" clId="{DF4FA4CD-A2A3-4725-AAA1-61E295168D40}" dt="2025-06-13T07:03:08.741" v="529" actId="47"/>
        <pc:sldMkLst>
          <pc:docMk/>
          <pc:sldMk cId="3256025624" sldId="2145706711"/>
        </pc:sldMkLst>
      </pc:sldChg>
      <pc:sldChg chg="addSp delSp modSp new mod ord modTransition modNotesTx">
        <pc:chgData name="Vulluri, Akhila" userId="ee34657b-d571-4573-90b7-c782f19323b3" providerId="ADAL" clId="{DF4FA4CD-A2A3-4725-AAA1-61E295168D40}" dt="2025-06-29T10:43:56.016" v="2276"/>
        <pc:sldMkLst>
          <pc:docMk/>
          <pc:sldMk cId="611016860" sldId="2145706712"/>
        </pc:sldMkLst>
        <pc:spChg chg="mod ord">
          <ac:chgData name="Vulluri, Akhila" userId="ee34657b-d571-4573-90b7-c782f19323b3" providerId="ADAL" clId="{DF4FA4CD-A2A3-4725-AAA1-61E295168D40}" dt="2025-06-13T10:20:15.950" v="1042" actId="1076"/>
          <ac:spMkLst>
            <pc:docMk/>
            <pc:sldMk cId="611016860" sldId="2145706712"/>
            <ac:spMk id="5" creationId="{5B455FE1-886E-277D-9440-8E627E6914BC}"/>
          </ac:spMkLst>
        </pc:spChg>
        <pc:spChg chg="add mod">
          <ac:chgData name="Vulluri, Akhila" userId="ee34657b-d571-4573-90b7-c782f19323b3" providerId="ADAL" clId="{DF4FA4CD-A2A3-4725-AAA1-61E295168D40}" dt="2025-06-13T10:20:11.182" v="1041" actId="1076"/>
          <ac:spMkLst>
            <pc:docMk/>
            <pc:sldMk cId="611016860" sldId="2145706712"/>
            <ac:spMk id="11" creationId="{64DB20B1-0F10-7647-99D3-003FD24C8252}"/>
          </ac:spMkLst>
        </pc:spChg>
        <pc:picChg chg="add mod">
          <ac:chgData name="Vulluri, Akhila" userId="ee34657b-d571-4573-90b7-c782f19323b3" providerId="ADAL" clId="{DF4FA4CD-A2A3-4725-AAA1-61E295168D40}" dt="2025-06-13T09:13:20.027" v="841" actId="26606"/>
          <ac:picMkLst>
            <pc:docMk/>
            <pc:sldMk cId="611016860" sldId="2145706712"/>
            <ac:picMk id="1032" creationId="{9F26D0C8-434B-F993-2959-44E9868F1A76}"/>
          </ac:picMkLst>
        </pc:picChg>
      </pc:sldChg>
      <pc:sldChg chg="addSp delSp modSp add mod ord modTransition modNotesTx">
        <pc:chgData name="Vulluri, Akhila" userId="ee34657b-d571-4573-90b7-c782f19323b3" providerId="ADAL" clId="{DF4FA4CD-A2A3-4725-AAA1-61E295168D40}" dt="2025-06-29T10:43:56.016" v="2276"/>
        <pc:sldMkLst>
          <pc:docMk/>
          <pc:sldMk cId="1665543534" sldId="2145706713"/>
        </pc:sldMkLst>
        <pc:spChg chg="mod ord">
          <ac:chgData name="Vulluri, Akhila" userId="ee34657b-d571-4573-90b7-c782f19323b3" providerId="ADAL" clId="{DF4FA4CD-A2A3-4725-AAA1-61E295168D40}" dt="2025-06-13T10:20:24.327" v="1043" actId="1076"/>
          <ac:spMkLst>
            <pc:docMk/>
            <pc:sldMk cId="1665543534" sldId="2145706713"/>
            <ac:spMk id="5" creationId="{155DC60B-73AF-7093-67E8-BE4393C34D13}"/>
          </ac:spMkLst>
        </pc:spChg>
        <pc:spChg chg="add mod">
          <ac:chgData name="Vulluri, Akhila" userId="ee34657b-d571-4573-90b7-c782f19323b3" providerId="ADAL" clId="{DF4FA4CD-A2A3-4725-AAA1-61E295168D40}" dt="2025-06-13T09:14:54.569" v="845" actId="26606"/>
          <ac:spMkLst>
            <pc:docMk/>
            <pc:sldMk cId="1665543534" sldId="2145706713"/>
            <ac:spMk id="6" creationId="{16AF2C0A-8A42-3FA3-A683-407B5DCE987B}"/>
          </ac:spMkLst>
        </pc:spChg>
        <pc:picChg chg="add mod">
          <ac:chgData name="Vulluri, Akhila" userId="ee34657b-d571-4573-90b7-c782f19323b3" providerId="ADAL" clId="{DF4FA4CD-A2A3-4725-AAA1-61E295168D40}" dt="2025-06-13T09:14:54.569" v="845" actId="26606"/>
          <ac:picMkLst>
            <pc:docMk/>
            <pc:sldMk cId="1665543534" sldId="2145706713"/>
            <ac:picMk id="2052" creationId="{162E207F-462A-9C22-3A7D-39F48154AD42}"/>
          </ac:picMkLst>
        </pc:picChg>
      </pc:sldChg>
      <pc:sldChg chg="addSp delSp modSp add mod modTransition modNotesTx">
        <pc:chgData name="Vulluri, Akhila" userId="ee34657b-d571-4573-90b7-c782f19323b3" providerId="ADAL" clId="{DF4FA4CD-A2A3-4725-AAA1-61E295168D40}" dt="2025-06-30T04:52:50.306" v="2312" actId="20577"/>
        <pc:sldMkLst>
          <pc:docMk/>
          <pc:sldMk cId="3786692224" sldId="2145706714"/>
        </pc:sldMkLst>
        <pc:spChg chg="mod">
          <ac:chgData name="Vulluri, Akhila" userId="ee34657b-d571-4573-90b7-c782f19323b3" providerId="ADAL" clId="{DF4FA4CD-A2A3-4725-AAA1-61E295168D40}" dt="2025-06-24T10:33:50.089" v="1873" actId="255"/>
          <ac:spMkLst>
            <pc:docMk/>
            <pc:sldMk cId="3786692224" sldId="2145706714"/>
            <ac:spMk id="3" creationId="{35E52686-C6B2-AE2C-BAC9-CDFE4696BF6D}"/>
          </ac:spMkLst>
        </pc:spChg>
        <pc:spChg chg="mod">
          <ac:chgData name="Vulluri, Akhila" userId="ee34657b-d571-4573-90b7-c782f19323b3" providerId="ADAL" clId="{DF4FA4CD-A2A3-4725-AAA1-61E295168D40}" dt="2025-06-13T09:48:17.861" v="908"/>
          <ac:spMkLst>
            <pc:docMk/>
            <pc:sldMk cId="3786692224" sldId="2145706714"/>
            <ac:spMk id="5" creationId="{B21898FA-AF5E-805C-ADD8-846950AD612B}"/>
          </ac:spMkLst>
        </pc:spChg>
        <pc:picChg chg="add mod">
          <ac:chgData name="Vulluri, Akhila" userId="ee34657b-d571-4573-90b7-c782f19323b3" providerId="ADAL" clId="{DF4FA4CD-A2A3-4725-AAA1-61E295168D40}" dt="2025-06-13T09:54:32.020" v="942"/>
          <ac:picMkLst>
            <pc:docMk/>
            <pc:sldMk cId="3786692224" sldId="2145706714"/>
            <ac:picMk id="11266" creationId="{63A35584-077E-E9C0-47EC-FC7E70274009}"/>
          </ac:picMkLst>
        </pc:picChg>
      </pc:sldChg>
      <pc:sldChg chg="addSp delSp modSp add mod modTransition modNotesTx">
        <pc:chgData name="Vulluri, Akhila" userId="ee34657b-d571-4573-90b7-c782f19323b3" providerId="ADAL" clId="{DF4FA4CD-A2A3-4725-AAA1-61E295168D40}" dt="2025-06-29T10:43:56.016" v="2276"/>
        <pc:sldMkLst>
          <pc:docMk/>
          <pc:sldMk cId="744669343" sldId="2145706715"/>
        </pc:sldMkLst>
        <pc:spChg chg="mod">
          <ac:chgData name="Vulluri, Akhila" userId="ee34657b-d571-4573-90b7-c782f19323b3" providerId="ADAL" clId="{DF4FA4CD-A2A3-4725-AAA1-61E295168D40}" dt="2025-06-29T10:18:30.707" v="2067" actId="20577"/>
          <ac:spMkLst>
            <pc:docMk/>
            <pc:sldMk cId="744669343" sldId="2145706715"/>
            <ac:spMk id="3" creationId="{244B8E8A-3708-B6A9-1DF3-82748262CB9F}"/>
          </ac:spMkLst>
        </pc:spChg>
        <pc:spChg chg="mod">
          <ac:chgData name="Vulluri, Akhila" userId="ee34657b-d571-4573-90b7-c782f19323b3" providerId="ADAL" clId="{DF4FA4CD-A2A3-4725-AAA1-61E295168D40}" dt="2025-06-13T09:48:34.720" v="910"/>
          <ac:spMkLst>
            <pc:docMk/>
            <pc:sldMk cId="744669343" sldId="2145706715"/>
            <ac:spMk id="5" creationId="{59C09D05-5F35-8323-B39C-AC913ECCE109}"/>
          </ac:spMkLst>
        </pc:spChg>
        <pc:picChg chg="add mod">
          <ac:chgData name="Vulluri, Akhila" userId="ee34657b-d571-4573-90b7-c782f19323b3" providerId="ADAL" clId="{DF4FA4CD-A2A3-4725-AAA1-61E295168D40}" dt="2025-06-13T09:55:18.418" v="943"/>
          <ac:picMkLst>
            <pc:docMk/>
            <pc:sldMk cId="744669343" sldId="2145706715"/>
            <ac:picMk id="12290" creationId="{AC25BB4E-DB04-F572-ECB8-5F1AD4781A57}"/>
          </ac:picMkLst>
        </pc:picChg>
      </pc:sldChg>
      <pc:sldChg chg="addSp delSp modSp add mod modTransition modNotesTx">
        <pc:chgData name="Vulluri, Akhila" userId="ee34657b-d571-4573-90b7-c782f19323b3" providerId="ADAL" clId="{DF4FA4CD-A2A3-4725-AAA1-61E295168D40}" dt="2025-06-29T10:43:56.016" v="2276"/>
        <pc:sldMkLst>
          <pc:docMk/>
          <pc:sldMk cId="3870818947" sldId="2145706716"/>
        </pc:sldMkLst>
        <pc:spChg chg="mod">
          <ac:chgData name="Vulluri, Akhila" userId="ee34657b-d571-4573-90b7-c782f19323b3" providerId="ADAL" clId="{DF4FA4CD-A2A3-4725-AAA1-61E295168D40}" dt="2025-06-24T10:34:21.455" v="1878" actId="255"/>
          <ac:spMkLst>
            <pc:docMk/>
            <pc:sldMk cId="3870818947" sldId="2145706716"/>
            <ac:spMk id="3" creationId="{9473BD51-8465-CA97-A7D2-F3359308D02B}"/>
          </ac:spMkLst>
        </pc:spChg>
        <pc:spChg chg="mod">
          <ac:chgData name="Vulluri, Akhila" userId="ee34657b-d571-4573-90b7-c782f19323b3" providerId="ADAL" clId="{DF4FA4CD-A2A3-4725-AAA1-61E295168D40}" dt="2025-06-13T10:03:14.325" v="997" actId="1076"/>
          <ac:spMkLst>
            <pc:docMk/>
            <pc:sldMk cId="3870818947" sldId="2145706716"/>
            <ac:spMk id="5" creationId="{3734B2ED-C134-FFD2-E092-BC27803603F8}"/>
          </ac:spMkLst>
        </pc:spChg>
        <pc:picChg chg="add mod">
          <ac:chgData name="Vulluri, Akhila" userId="ee34657b-d571-4573-90b7-c782f19323b3" providerId="ADAL" clId="{DF4FA4CD-A2A3-4725-AAA1-61E295168D40}" dt="2025-06-13T10:03:01.679" v="994" actId="14100"/>
          <ac:picMkLst>
            <pc:docMk/>
            <pc:sldMk cId="3870818947" sldId="2145706716"/>
            <ac:picMk id="14338" creationId="{FA287C3D-32C6-509A-E7CF-F650DA382895}"/>
          </ac:picMkLst>
        </pc:picChg>
        <pc:picChg chg="add mod">
          <ac:chgData name="Vulluri, Akhila" userId="ee34657b-d571-4573-90b7-c782f19323b3" providerId="ADAL" clId="{DF4FA4CD-A2A3-4725-AAA1-61E295168D40}" dt="2025-06-13T10:03:04.796" v="995" actId="14100"/>
          <ac:picMkLst>
            <pc:docMk/>
            <pc:sldMk cId="3870818947" sldId="2145706716"/>
            <ac:picMk id="14340" creationId="{9E180AE3-8303-0C63-FC4B-4663FB738578}"/>
          </ac:picMkLst>
        </pc:picChg>
      </pc:sldChg>
      <pc:sldChg chg="addSp delSp modSp add mod ord modTransition modNotesTx">
        <pc:chgData name="Vulluri, Akhila" userId="ee34657b-d571-4573-90b7-c782f19323b3" providerId="ADAL" clId="{DF4FA4CD-A2A3-4725-AAA1-61E295168D40}" dt="2025-06-29T10:43:56.016" v="2276"/>
        <pc:sldMkLst>
          <pc:docMk/>
          <pc:sldMk cId="1301744402" sldId="2145706717"/>
        </pc:sldMkLst>
        <pc:spChg chg="mod">
          <ac:chgData name="Vulluri, Akhila" userId="ee34657b-d571-4573-90b7-c782f19323b3" providerId="ADAL" clId="{DF4FA4CD-A2A3-4725-AAA1-61E295168D40}" dt="2025-06-13T07:33:15.846" v="793" actId="255"/>
          <ac:spMkLst>
            <pc:docMk/>
            <pc:sldMk cId="1301744402" sldId="2145706717"/>
            <ac:spMk id="3" creationId="{460AC083-9F1E-7CB9-E54E-D8A3E0302FB0}"/>
          </ac:spMkLst>
        </pc:spChg>
        <pc:spChg chg="mod">
          <ac:chgData name="Vulluri, Akhila" userId="ee34657b-d571-4573-90b7-c782f19323b3" providerId="ADAL" clId="{DF4FA4CD-A2A3-4725-AAA1-61E295168D40}" dt="2025-06-13T10:20:31.541" v="1044" actId="1076"/>
          <ac:spMkLst>
            <pc:docMk/>
            <pc:sldMk cId="1301744402" sldId="2145706717"/>
            <ac:spMk id="5" creationId="{7CC6A76F-BF1B-5C69-5687-5FD770245E65}"/>
          </ac:spMkLst>
        </pc:spChg>
        <pc:picChg chg="add mod">
          <ac:chgData name="Vulluri, Akhila" userId="ee34657b-d571-4573-90b7-c782f19323b3" providerId="ADAL" clId="{DF4FA4CD-A2A3-4725-AAA1-61E295168D40}" dt="2025-06-13T09:15:46.381" v="847"/>
          <ac:picMkLst>
            <pc:docMk/>
            <pc:sldMk cId="1301744402" sldId="2145706717"/>
            <ac:picMk id="3074" creationId="{F81D2FDE-7FEB-0362-610E-0C4A712D48D1}"/>
          </ac:picMkLst>
        </pc:picChg>
      </pc:sldChg>
      <pc:sldChg chg="addSp delSp modSp add mod ord modTransition modNotesTx">
        <pc:chgData name="Vulluri, Akhila" userId="ee34657b-d571-4573-90b7-c782f19323b3" providerId="ADAL" clId="{DF4FA4CD-A2A3-4725-AAA1-61E295168D40}" dt="2025-06-29T10:43:56.016" v="2276"/>
        <pc:sldMkLst>
          <pc:docMk/>
          <pc:sldMk cId="789177842" sldId="2145706718"/>
        </pc:sldMkLst>
        <pc:spChg chg="mod">
          <ac:chgData name="Vulluri, Akhila" userId="ee34657b-d571-4573-90b7-c782f19323b3" providerId="ADAL" clId="{DF4FA4CD-A2A3-4725-AAA1-61E295168D40}" dt="2025-06-13T07:34:01.243" v="797" actId="255"/>
          <ac:spMkLst>
            <pc:docMk/>
            <pc:sldMk cId="789177842" sldId="2145706718"/>
            <ac:spMk id="3" creationId="{EA2F680F-BF2E-5F39-9DD8-B9FAE3EA4950}"/>
          </ac:spMkLst>
        </pc:spChg>
        <pc:spChg chg="mod">
          <ac:chgData name="Vulluri, Akhila" userId="ee34657b-d571-4573-90b7-c782f19323b3" providerId="ADAL" clId="{DF4FA4CD-A2A3-4725-AAA1-61E295168D40}" dt="2025-06-13T10:20:38.224" v="1045" actId="1076"/>
          <ac:spMkLst>
            <pc:docMk/>
            <pc:sldMk cId="789177842" sldId="2145706718"/>
            <ac:spMk id="5" creationId="{56BCA907-1664-C757-9815-E0C5E56097F4}"/>
          </ac:spMkLst>
        </pc:spChg>
        <pc:picChg chg="add mod">
          <ac:chgData name="Vulluri, Akhila" userId="ee34657b-d571-4573-90b7-c782f19323b3" providerId="ADAL" clId="{DF4FA4CD-A2A3-4725-AAA1-61E295168D40}" dt="2025-06-13T09:16:51.037" v="848"/>
          <ac:picMkLst>
            <pc:docMk/>
            <pc:sldMk cId="789177842" sldId="2145706718"/>
            <ac:picMk id="4098" creationId="{592282DD-D3DE-F10B-F5E1-D0F0E2C99410}"/>
          </ac:picMkLst>
        </pc:picChg>
      </pc:sldChg>
      <pc:sldChg chg="addSp delSp modSp add mod ord modTransition modNotesTx">
        <pc:chgData name="Vulluri, Akhila" userId="ee34657b-d571-4573-90b7-c782f19323b3" providerId="ADAL" clId="{DF4FA4CD-A2A3-4725-AAA1-61E295168D40}" dt="2025-06-29T10:43:56.016" v="2276"/>
        <pc:sldMkLst>
          <pc:docMk/>
          <pc:sldMk cId="4240610059" sldId="2145706719"/>
        </pc:sldMkLst>
        <pc:spChg chg="mod">
          <ac:chgData name="Vulluri, Akhila" userId="ee34657b-d571-4573-90b7-c782f19323b3" providerId="ADAL" clId="{DF4FA4CD-A2A3-4725-AAA1-61E295168D40}" dt="2025-06-13T07:34:44.803" v="802" actId="255"/>
          <ac:spMkLst>
            <pc:docMk/>
            <pc:sldMk cId="4240610059" sldId="2145706719"/>
            <ac:spMk id="3" creationId="{A4727D4C-A820-DEC2-0932-635B8D207D92}"/>
          </ac:spMkLst>
        </pc:spChg>
        <pc:spChg chg="mod">
          <ac:chgData name="Vulluri, Akhila" userId="ee34657b-d571-4573-90b7-c782f19323b3" providerId="ADAL" clId="{DF4FA4CD-A2A3-4725-AAA1-61E295168D40}" dt="2025-06-13T07:34:30.677" v="801" actId="1076"/>
          <ac:spMkLst>
            <pc:docMk/>
            <pc:sldMk cId="4240610059" sldId="2145706719"/>
            <ac:spMk id="5" creationId="{D0434DE2-4E0E-C337-851A-D358CD05E860}"/>
          </ac:spMkLst>
        </pc:spChg>
        <pc:picChg chg="add mod">
          <ac:chgData name="Vulluri, Akhila" userId="ee34657b-d571-4573-90b7-c782f19323b3" providerId="ADAL" clId="{DF4FA4CD-A2A3-4725-AAA1-61E295168D40}" dt="2025-06-13T09:17:46.229" v="849"/>
          <ac:picMkLst>
            <pc:docMk/>
            <pc:sldMk cId="4240610059" sldId="2145706719"/>
            <ac:picMk id="5122" creationId="{42117C24-E6EB-8EAB-5E7C-31FCCC0AE1A9}"/>
          </ac:picMkLst>
        </pc:picChg>
      </pc:sldChg>
      <pc:sldChg chg="addSp delSp modSp add mod modTransition modNotesTx">
        <pc:chgData name="Vulluri, Akhila" userId="ee34657b-d571-4573-90b7-c782f19323b3" providerId="ADAL" clId="{DF4FA4CD-A2A3-4725-AAA1-61E295168D40}" dt="2025-06-29T10:43:56.016" v="2276"/>
        <pc:sldMkLst>
          <pc:docMk/>
          <pc:sldMk cId="3801896496" sldId="2145706720"/>
        </pc:sldMkLst>
        <pc:spChg chg="mod">
          <ac:chgData name="Vulluri, Akhila" userId="ee34657b-d571-4573-90b7-c782f19323b3" providerId="ADAL" clId="{DF4FA4CD-A2A3-4725-AAA1-61E295168D40}" dt="2025-06-24T10:34:38.187" v="1880" actId="255"/>
          <ac:spMkLst>
            <pc:docMk/>
            <pc:sldMk cId="3801896496" sldId="2145706720"/>
            <ac:spMk id="3" creationId="{8C9BC159-2E8C-D401-3F73-EED65A37B0F3}"/>
          </ac:spMkLst>
        </pc:spChg>
        <pc:spChg chg="mod">
          <ac:chgData name="Vulluri, Akhila" userId="ee34657b-d571-4573-90b7-c782f19323b3" providerId="ADAL" clId="{DF4FA4CD-A2A3-4725-AAA1-61E295168D40}" dt="2025-06-13T09:49:27.125" v="916"/>
          <ac:spMkLst>
            <pc:docMk/>
            <pc:sldMk cId="3801896496" sldId="2145706720"/>
            <ac:spMk id="5" creationId="{B18CEB59-79B3-94B3-B2A6-0769CA9B44B8}"/>
          </ac:spMkLst>
        </pc:spChg>
        <pc:picChg chg="add mod">
          <ac:chgData name="Vulluri, Akhila" userId="ee34657b-d571-4573-90b7-c782f19323b3" providerId="ADAL" clId="{DF4FA4CD-A2A3-4725-AAA1-61E295168D40}" dt="2025-06-13T10:06:50.891" v="999"/>
          <ac:picMkLst>
            <pc:docMk/>
            <pc:sldMk cId="3801896496" sldId="2145706720"/>
            <ac:picMk id="15362" creationId="{A4A7FC5B-33D0-8BC4-9E7A-D762F349D720}"/>
          </ac:picMkLst>
        </pc:picChg>
      </pc:sldChg>
      <pc:sldChg chg="addSp delSp modSp add mod modTransition modNotesTx">
        <pc:chgData name="Vulluri, Akhila" userId="ee34657b-d571-4573-90b7-c782f19323b3" providerId="ADAL" clId="{DF4FA4CD-A2A3-4725-AAA1-61E295168D40}" dt="2025-06-29T10:43:56.016" v="2276"/>
        <pc:sldMkLst>
          <pc:docMk/>
          <pc:sldMk cId="2381201465" sldId="2145706721"/>
        </pc:sldMkLst>
        <pc:spChg chg="mod">
          <ac:chgData name="Vulluri, Akhila" userId="ee34657b-d571-4573-90b7-c782f19323b3" providerId="ADAL" clId="{DF4FA4CD-A2A3-4725-AAA1-61E295168D40}" dt="2025-06-24T10:34:59.966" v="1882" actId="255"/>
          <ac:spMkLst>
            <pc:docMk/>
            <pc:sldMk cId="2381201465" sldId="2145706721"/>
            <ac:spMk id="3" creationId="{5B051E89-C969-5957-F6A9-BF2C64D61E69}"/>
          </ac:spMkLst>
        </pc:spChg>
        <pc:spChg chg="mod">
          <ac:chgData name="Vulluri, Akhila" userId="ee34657b-d571-4573-90b7-c782f19323b3" providerId="ADAL" clId="{DF4FA4CD-A2A3-4725-AAA1-61E295168D40}" dt="2025-06-13T09:49:52.726" v="918"/>
          <ac:spMkLst>
            <pc:docMk/>
            <pc:sldMk cId="2381201465" sldId="2145706721"/>
            <ac:spMk id="5" creationId="{50A31AAF-8D49-45C3-FDBE-1E3B813391E6}"/>
          </ac:spMkLst>
        </pc:spChg>
        <pc:picChg chg="add mod">
          <ac:chgData name="Vulluri, Akhila" userId="ee34657b-d571-4573-90b7-c782f19323b3" providerId="ADAL" clId="{DF4FA4CD-A2A3-4725-AAA1-61E295168D40}" dt="2025-06-13T10:09:44.534" v="1003"/>
          <ac:picMkLst>
            <pc:docMk/>
            <pc:sldMk cId="2381201465" sldId="2145706721"/>
            <ac:picMk id="16386" creationId="{CE5BF7AF-D825-61A3-3889-BE60CC7A521B}"/>
          </ac:picMkLst>
        </pc:picChg>
      </pc:sldChg>
      <pc:sldChg chg="addSp delSp modSp add mod modTransition modNotesTx">
        <pc:chgData name="Vulluri, Akhila" userId="ee34657b-d571-4573-90b7-c782f19323b3" providerId="ADAL" clId="{DF4FA4CD-A2A3-4725-AAA1-61E295168D40}" dt="2025-06-29T10:43:56.016" v="2276"/>
        <pc:sldMkLst>
          <pc:docMk/>
          <pc:sldMk cId="2962814275" sldId="2145706722"/>
        </pc:sldMkLst>
        <pc:spChg chg="mod">
          <ac:chgData name="Vulluri, Akhila" userId="ee34657b-d571-4573-90b7-c782f19323b3" providerId="ADAL" clId="{DF4FA4CD-A2A3-4725-AAA1-61E295168D40}" dt="2025-06-24T10:35:11.763" v="1884" actId="255"/>
          <ac:spMkLst>
            <pc:docMk/>
            <pc:sldMk cId="2962814275" sldId="2145706722"/>
            <ac:spMk id="3" creationId="{5838B527-6BBE-3394-A9E2-E241E92A9478}"/>
          </ac:spMkLst>
        </pc:spChg>
        <pc:spChg chg="mod">
          <ac:chgData name="Vulluri, Akhila" userId="ee34657b-d571-4573-90b7-c782f19323b3" providerId="ADAL" clId="{DF4FA4CD-A2A3-4725-AAA1-61E295168D40}" dt="2025-06-13T09:50:11.215" v="920"/>
          <ac:spMkLst>
            <pc:docMk/>
            <pc:sldMk cId="2962814275" sldId="2145706722"/>
            <ac:spMk id="5" creationId="{0C9C36F2-11AA-9341-9CDA-9B1030D5E2B2}"/>
          </ac:spMkLst>
        </pc:spChg>
        <pc:picChg chg="add mod">
          <ac:chgData name="Vulluri, Akhila" userId="ee34657b-d571-4573-90b7-c782f19323b3" providerId="ADAL" clId="{DF4FA4CD-A2A3-4725-AAA1-61E295168D40}" dt="2025-06-13T09:59:25.459" v="969" actId="14100"/>
          <ac:picMkLst>
            <pc:docMk/>
            <pc:sldMk cId="2962814275" sldId="2145706722"/>
            <ac:picMk id="6" creationId="{8C071D90-3E76-18B6-3D47-91B2F25D7ADF}"/>
          </ac:picMkLst>
        </pc:picChg>
        <pc:picChg chg="add mod">
          <ac:chgData name="Vulluri, Akhila" userId="ee34657b-d571-4573-90b7-c782f19323b3" providerId="ADAL" clId="{DF4FA4CD-A2A3-4725-AAA1-61E295168D40}" dt="2025-06-13T09:59:29.463" v="970" actId="14100"/>
          <ac:picMkLst>
            <pc:docMk/>
            <pc:sldMk cId="2962814275" sldId="2145706722"/>
            <ac:picMk id="13316" creationId="{210C8179-9D6F-6B18-9F52-CDB6900DC882}"/>
          </ac:picMkLst>
        </pc:picChg>
      </pc:sldChg>
      <pc:sldChg chg="addSp delSp modSp add mod modTransition modNotesTx">
        <pc:chgData name="Vulluri, Akhila" userId="ee34657b-d571-4573-90b7-c782f19323b3" providerId="ADAL" clId="{DF4FA4CD-A2A3-4725-AAA1-61E295168D40}" dt="2025-06-29T10:43:56.016" v="2276"/>
        <pc:sldMkLst>
          <pc:docMk/>
          <pc:sldMk cId="1131602172" sldId="2145706723"/>
        </pc:sldMkLst>
        <pc:spChg chg="mod">
          <ac:chgData name="Vulluri, Akhila" userId="ee34657b-d571-4573-90b7-c782f19323b3" providerId="ADAL" clId="{DF4FA4CD-A2A3-4725-AAA1-61E295168D40}" dt="2025-06-24T10:40:00.187" v="1888" actId="2711"/>
          <ac:spMkLst>
            <pc:docMk/>
            <pc:sldMk cId="1131602172" sldId="2145706723"/>
            <ac:spMk id="3" creationId="{ADC02B2A-96D5-869C-3E37-308C3AE06B99}"/>
          </ac:spMkLst>
        </pc:spChg>
        <pc:spChg chg="mod">
          <ac:chgData name="Vulluri, Akhila" userId="ee34657b-d571-4573-90b7-c782f19323b3" providerId="ADAL" clId="{DF4FA4CD-A2A3-4725-AAA1-61E295168D40}" dt="2025-06-13T09:50:34.233" v="922"/>
          <ac:spMkLst>
            <pc:docMk/>
            <pc:sldMk cId="1131602172" sldId="2145706723"/>
            <ac:spMk id="5" creationId="{B92A4179-E82F-234B-30D7-CEF2D910F49F}"/>
          </ac:spMkLst>
        </pc:spChg>
        <pc:picChg chg="add mod">
          <ac:chgData name="Vulluri, Akhila" userId="ee34657b-d571-4573-90b7-c782f19323b3" providerId="ADAL" clId="{DF4FA4CD-A2A3-4725-AAA1-61E295168D40}" dt="2025-06-13T10:12:22.572" v="1004"/>
          <ac:picMkLst>
            <pc:docMk/>
            <pc:sldMk cId="1131602172" sldId="2145706723"/>
            <ac:picMk id="17410" creationId="{360FF01E-0918-D516-80D4-7126E08C2853}"/>
          </ac:picMkLst>
        </pc:picChg>
      </pc:sldChg>
      <pc:sldChg chg="addSp delSp modSp add mod modTransition modClrScheme chgLayout modNotesTx">
        <pc:chgData name="Vulluri, Akhila" userId="ee34657b-d571-4573-90b7-c782f19323b3" providerId="ADAL" clId="{DF4FA4CD-A2A3-4725-AAA1-61E295168D40}" dt="2025-06-29T10:43:56.016" v="2276"/>
        <pc:sldMkLst>
          <pc:docMk/>
          <pc:sldMk cId="1388853653" sldId="2145706724"/>
        </pc:sldMkLst>
        <pc:spChg chg="mod ord">
          <ac:chgData name="Vulluri, Akhila" userId="ee34657b-d571-4573-90b7-c782f19323b3" providerId="ADAL" clId="{DF4FA4CD-A2A3-4725-AAA1-61E295168D40}" dt="2025-06-13T10:15:31.221" v="1028" actId="26606"/>
          <ac:spMkLst>
            <pc:docMk/>
            <pc:sldMk cId="1388853653" sldId="2145706724"/>
            <ac:spMk id="5" creationId="{78C62A9D-A5E7-0385-2D92-6B11EB3E5096}"/>
          </ac:spMkLst>
        </pc:spChg>
        <pc:spChg chg="add mod ord">
          <ac:chgData name="Vulluri, Akhila" userId="ee34657b-d571-4573-90b7-c782f19323b3" providerId="ADAL" clId="{DF4FA4CD-A2A3-4725-AAA1-61E295168D40}" dt="2025-06-24T10:40:09.450" v="1889" actId="2711"/>
          <ac:spMkLst>
            <pc:docMk/>
            <pc:sldMk cId="1388853653" sldId="2145706724"/>
            <ac:spMk id="14" creationId="{0543C2C6-09EB-ED19-8BA3-15F913CF1110}"/>
          </ac:spMkLst>
        </pc:spChg>
        <pc:picChg chg="add mod">
          <ac:chgData name="Vulluri, Akhila" userId="ee34657b-d571-4573-90b7-c782f19323b3" providerId="ADAL" clId="{DF4FA4CD-A2A3-4725-AAA1-61E295168D40}" dt="2025-06-13T10:16:02.767" v="1037" actId="1076"/>
          <ac:picMkLst>
            <pc:docMk/>
            <pc:sldMk cId="1388853653" sldId="2145706724"/>
            <ac:picMk id="10258" creationId="{10FE85C0-139F-D353-56CF-811AEB15ACBA}"/>
          </ac:picMkLst>
        </pc:picChg>
      </pc:sldChg>
      <pc:sldChg chg="new del">
        <pc:chgData name="Vulluri, Akhila" userId="ee34657b-d571-4573-90b7-c782f19323b3" providerId="ADAL" clId="{DF4FA4CD-A2A3-4725-AAA1-61E295168D40}" dt="2025-06-16T09:21:41.920" v="1204" actId="47"/>
        <pc:sldMkLst>
          <pc:docMk/>
          <pc:sldMk cId="3247077009" sldId="2145706725"/>
        </pc:sldMkLst>
      </pc:sldChg>
      <pc:sldChg chg="addSp delSp modSp new mod modTransition modClrScheme chgLayout modNotesTx">
        <pc:chgData name="Vulluri, Akhila" userId="ee34657b-d571-4573-90b7-c782f19323b3" providerId="ADAL" clId="{DF4FA4CD-A2A3-4725-AAA1-61E295168D40}" dt="2025-06-30T05:01:41.084" v="2333" actId="14100"/>
        <pc:sldMkLst>
          <pc:docMk/>
          <pc:sldMk cId="388259312" sldId="2145706726"/>
        </pc:sldMkLst>
        <pc:spChg chg="mod">
          <ac:chgData name="Vulluri, Akhila" userId="ee34657b-d571-4573-90b7-c782f19323b3" providerId="ADAL" clId="{DF4FA4CD-A2A3-4725-AAA1-61E295168D40}" dt="2025-06-16T10:04:55.616" v="1303" actId="1076"/>
          <ac:spMkLst>
            <pc:docMk/>
            <pc:sldMk cId="388259312" sldId="2145706726"/>
            <ac:spMk id="5" creationId="{98E111B8-4259-21AF-4B7D-2DCB5658AC76}"/>
          </ac:spMkLst>
        </pc:spChg>
        <pc:graphicFrameChg chg="add mod">
          <ac:chgData name="Vulluri, Akhila" userId="ee34657b-d571-4573-90b7-c782f19323b3" providerId="ADAL" clId="{DF4FA4CD-A2A3-4725-AAA1-61E295168D40}" dt="2025-06-30T05:01:41.084" v="2333" actId="14100"/>
          <ac:graphicFrameMkLst>
            <pc:docMk/>
            <pc:sldMk cId="388259312" sldId="2145706726"/>
            <ac:graphicFrameMk id="10" creationId="{B2AF37BF-8DE3-0E21-6684-482E255C17E2}"/>
          </ac:graphicFrameMkLst>
        </pc:graphicFrameChg>
        <pc:picChg chg="add mod">
          <ac:chgData name="Vulluri, Akhila" userId="ee34657b-d571-4573-90b7-c782f19323b3" providerId="ADAL" clId="{DF4FA4CD-A2A3-4725-AAA1-61E295168D40}" dt="2025-06-16T10:05:01.359" v="1305" actId="1076"/>
          <ac:picMkLst>
            <pc:docMk/>
            <pc:sldMk cId="388259312" sldId="2145706726"/>
            <ac:picMk id="9" creationId="{10230690-BD33-1306-88D7-651E06D16E69}"/>
          </ac:picMkLst>
        </pc:picChg>
      </pc:sldChg>
      <pc:sldChg chg="addSp delSp modSp add mod modTransition modClrScheme chgLayout modNotesTx">
        <pc:chgData name="Vulluri, Akhila" userId="ee34657b-d571-4573-90b7-c782f19323b3" providerId="ADAL" clId="{DF4FA4CD-A2A3-4725-AAA1-61E295168D40}" dt="2025-06-29T10:43:56.016" v="2276"/>
        <pc:sldMkLst>
          <pc:docMk/>
          <pc:sldMk cId="2844035535" sldId="2145706727"/>
        </pc:sldMkLst>
        <pc:spChg chg="mod">
          <ac:chgData name="Vulluri, Akhila" userId="ee34657b-d571-4573-90b7-c782f19323b3" providerId="ADAL" clId="{DF4FA4CD-A2A3-4725-AAA1-61E295168D40}" dt="2025-06-16T10:02:27.572" v="1274" actId="1076"/>
          <ac:spMkLst>
            <pc:docMk/>
            <pc:sldMk cId="2844035535" sldId="2145706727"/>
            <ac:spMk id="5" creationId="{EB195B01-5AD3-79CC-F1AA-E5110AC90628}"/>
          </ac:spMkLst>
        </pc:spChg>
        <pc:graphicFrameChg chg="add mod">
          <ac:chgData name="Vulluri, Akhila" userId="ee34657b-d571-4573-90b7-c782f19323b3" providerId="ADAL" clId="{DF4FA4CD-A2A3-4725-AAA1-61E295168D40}" dt="2025-06-16T10:02:58.444" v="1284"/>
          <ac:graphicFrameMkLst>
            <pc:docMk/>
            <pc:sldMk cId="2844035535" sldId="2145706727"/>
            <ac:graphicFrameMk id="10" creationId="{BD650DC8-140F-7137-0AEE-48380FFC7189}"/>
          </ac:graphicFrameMkLst>
        </pc:graphicFrameChg>
        <pc:picChg chg="add mod">
          <ac:chgData name="Vulluri, Akhila" userId="ee34657b-d571-4573-90b7-c782f19323b3" providerId="ADAL" clId="{DF4FA4CD-A2A3-4725-AAA1-61E295168D40}" dt="2025-06-16T10:02:52.096" v="1282" actId="1076"/>
          <ac:picMkLst>
            <pc:docMk/>
            <pc:sldMk cId="2844035535" sldId="2145706727"/>
            <ac:picMk id="1026" creationId="{8E57ECA5-97CA-7056-8CEF-66CF0D9E300E}"/>
          </ac:picMkLst>
        </pc:picChg>
      </pc:sldChg>
      <pc:sldChg chg="addSp delSp modSp add mod modTransition modClrScheme chgLayout modNotesTx">
        <pc:chgData name="Vulluri, Akhila" userId="ee34657b-d571-4573-90b7-c782f19323b3" providerId="ADAL" clId="{DF4FA4CD-A2A3-4725-AAA1-61E295168D40}" dt="2025-06-29T10:43:56.016" v="2276"/>
        <pc:sldMkLst>
          <pc:docMk/>
          <pc:sldMk cId="1624296968" sldId="2145706728"/>
        </pc:sldMkLst>
        <pc:spChg chg="mod">
          <ac:chgData name="Vulluri, Akhila" userId="ee34657b-d571-4573-90b7-c782f19323b3" providerId="ADAL" clId="{DF4FA4CD-A2A3-4725-AAA1-61E295168D40}" dt="2025-06-16T09:58:06.930" v="1239" actId="26606"/>
          <ac:spMkLst>
            <pc:docMk/>
            <pc:sldMk cId="1624296968" sldId="2145706728"/>
            <ac:spMk id="5" creationId="{248F6C8B-8C68-6753-EEE6-9435D51FB212}"/>
          </ac:spMkLst>
        </pc:spChg>
        <pc:graphicFrameChg chg="add mod">
          <ac:chgData name="Vulluri, Akhila" userId="ee34657b-d571-4573-90b7-c782f19323b3" providerId="ADAL" clId="{DF4FA4CD-A2A3-4725-AAA1-61E295168D40}" dt="2025-06-16T09:59:11.576" v="1244" actId="14100"/>
          <ac:graphicFrameMkLst>
            <pc:docMk/>
            <pc:sldMk cId="1624296968" sldId="2145706728"/>
            <ac:graphicFrameMk id="8" creationId="{DD69A6BC-6F6A-44E8-7688-88EED488F161}"/>
          </ac:graphicFrameMkLst>
        </pc:graphicFrameChg>
        <pc:picChg chg="add mod">
          <ac:chgData name="Vulluri, Akhila" userId="ee34657b-d571-4573-90b7-c782f19323b3" providerId="ADAL" clId="{DF4FA4CD-A2A3-4725-AAA1-61E295168D40}" dt="2025-06-16T09:59:29.548" v="1245" actId="1076"/>
          <ac:picMkLst>
            <pc:docMk/>
            <pc:sldMk cId="1624296968" sldId="2145706728"/>
            <ac:picMk id="6" creationId="{954F46B7-C62F-8E51-69E7-7C88AE8E86FD}"/>
          </ac:picMkLst>
        </pc:picChg>
      </pc:sldChg>
      <pc:sldChg chg="add del ord">
        <pc:chgData name="Vulluri, Akhila" userId="ee34657b-d571-4573-90b7-c782f19323b3" providerId="ADAL" clId="{DF4FA4CD-A2A3-4725-AAA1-61E295168D40}" dt="2025-06-16T10:13:11.592" v="1338" actId="47"/>
        <pc:sldMkLst>
          <pc:docMk/>
          <pc:sldMk cId="510920364" sldId="2145706729"/>
        </pc:sldMkLst>
      </pc:sldChg>
      <pc:sldChg chg="addSp delSp modSp add mod ord modTransition modClrScheme chgLayout modNotesTx">
        <pc:chgData name="Vulluri, Akhila" userId="ee34657b-d571-4573-90b7-c782f19323b3" providerId="ADAL" clId="{DF4FA4CD-A2A3-4725-AAA1-61E295168D40}" dt="2025-06-29T10:43:56.016" v="2276"/>
        <pc:sldMkLst>
          <pc:docMk/>
          <pc:sldMk cId="4058555078" sldId="2145706730"/>
        </pc:sldMkLst>
        <pc:spChg chg="mod">
          <ac:chgData name="Vulluri, Akhila" userId="ee34657b-d571-4573-90b7-c782f19323b3" providerId="ADAL" clId="{DF4FA4CD-A2A3-4725-AAA1-61E295168D40}" dt="2025-06-16T10:07:15.160" v="1325" actId="14100"/>
          <ac:spMkLst>
            <pc:docMk/>
            <pc:sldMk cId="4058555078" sldId="2145706730"/>
            <ac:spMk id="5" creationId="{685182C1-75F0-7334-BCC8-8255189D4736}"/>
          </ac:spMkLst>
        </pc:spChg>
        <pc:graphicFrameChg chg="add mod">
          <ac:chgData name="Vulluri, Akhila" userId="ee34657b-d571-4573-90b7-c782f19323b3" providerId="ADAL" clId="{DF4FA4CD-A2A3-4725-AAA1-61E295168D40}" dt="2025-06-16T10:07:17.480" v="1326"/>
          <ac:graphicFrameMkLst>
            <pc:docMk/>
            <pc:sldMk cId="4058555078" sldId="2145706730"/>
            <ac:graphicFrameMk id="12" creationId="{7980F8F3-89C5-DE24-5C4E-54DF25CA2189}"/>
          </ac:graphicFrameMkLst>
        </pc:graphicFrameChg>
        <pc:picChg chg="add mod">
          <ac:chgData name="Vulluri, Akhila" userId="ee34657b-d571-4573-90b7-c782f19323b3" providerId="ADAL" clId="{DF4FA4CD-A2A3-4725-AAA1-61E295168D40}" dt="2025-06-16T10:07:30.811" v="1328" actId="1076"/>
          <ac:picMkLst>
            <pc:docMk/>
            <pc:sldMk cId="4058555078" sldId="2145706730"/>
            <ac:picMk id="9" creationId="{B9964071-1B64-B63B-4CD8-9EBAEB22123B}"/>
          </ac:picMkLst>
        </pc:picChg>
      </pc:sldChg>
      <pc:sldChg chg="addSp delSp modSp new del mod">
        <pc:chgData name="Vulluri, Akhila" userId="ee34657b-d571-4573-90b7-c782f19323b3" providerId="ADAL" clId="{DF4FA4CD-A2A3-4725-AAA1-61E295168D40}" dt="2025-06-16T10:16:46.190" v="1377" actId="47"/>
        <pc:sldMkLst>
          <pc:docMk/>
          <pc:sldMk cId="1341226597" sldId="2145706731"/>
        </pc:sldMkLst>
      </pc:sldChg>
      <pc:sldChg chg="addSp delSp modSp new del mod modClrScheme chgLayout">
        <pc:chgData name="Vulluri, Akhila" userId="ee34657b-d571-4573-90b7-c782f19323b3" providerId="ADAL" clId="{DF4FA4CD-A2A3-4725-AAA1-61E295168D40}" dt="2025-06-16T10:24:35.829" v="1434" actId="47"/>
        <pc:sldMkLst>
          <pc:docMk/>
          <pc:sldMk cId="3295467209" sldId="2145706732"/>
        </pc:sldMkLst>
      </pc:sldChg>
      <pc:sldChg chg="add del">
        <pc:chgData name="Vulluri, Akhila" userId="ee34657b-d571-4573-90b7-c782f19323b3" providerId="ADAL" clId="{DF4FA4CD-A2A3-4725-AAA1-61E295168D40}" dt="2025-06-16T10:19:50.680" v="1391" actId="47"/>
        <pc:sldMkLst>
          <pc:docMk/>
          <pc:sldMk cId="1389807978" sldId="2145706733"/>
        </pc:sldMkLst>
      </pc:sldChg>
      <pc:sldChg chg="addSp delSp modSp new mod modTransition modClrScheme chgLayout modNotesTx">
        <pc:chgData name="Vulluri, Akhila" userId="ee34657b-d571-4573-90b7-c782f19323b3" providerId="ADAL" clId="{DF4FA4CD-A2A3-4725-AAA1-61E295168D40}" dt="2025-06-29T10:43:56.016" v="2276"/>
        <pc:sldMkLst>
          <pc:docMk/>
          <pc:sldMk cId="1788469670" sldId="2145706733"/>
        </pc:sldMkLst>
        <pc:spChg chg="mod">
          <ac:chgData name="Vulluri, Akhila" userId="ee34657b-d571-4573-90b7-c782f19323b3" providerId="ADAL" clId="{DF4FA4CD-A2A3-4725-AAA1-61E295168D40}" dt="2025-06-16T10:21:24.948" v="1400" actId="26606"/>
          <ac:spMkLst>
            <pc:docMk/>
            <pc:sldMk cId="1788469670" sldId="2145706733"/>
            <ac:spMk id="5" creationId="{3AB97905-B35F-D072-1ED9-4ECAD040E4AC}"/>
          </ac:spMkLst>
        </pc:spChg>
        <pc:graphicFrameChg chg="add mod">
          <ac:chgData name="Vulluri, Akhila" userId="ee34657b-d571-4573-90b7-c782f19323b3" providerId="ADAL" clId="{DF4FA4CD-A2A3-4725-AAA1-61E295168D40}" dt="2025-06-16T10:26:01.152" v="1443"/>
          <ac:graphicFrameMkLst>
            <pc:docMk/>
            <pc:sldMk cId="1788469670" sldId="2145706733"/>
            <ac:graphicFrameMk id="7" creationId="{A6FBE7F8-C9B9-3862-04D4-E6F640EBFC11}"/>
          </ac:graphicFrameMkLst>
        </pc:graphicFrameChg>
        <pc:picChg chg="add mod">
          <ac:chgData name="Vulluri, Akhila" userId="ee34657b-d571-4573-90b7-c782f19323b3" providerId="ADAL" clId="{DF4FA4CD-A2A3-4725-AAA1-61E295168D40}" dt="2025-06-16T10:28:28.486" v="1464" actId="1076"/>
          <ac:picMkLst>
            <pc:docMk/>
            <pc:sldMk cId="1788469670" sldId="2145706733"/>
            <ac:picMk id="8" creationId="{ED92A12B-0A37-708E-2B10-DF1117B403FB}"/>
          </ac:picMkLst>
        </pc:picChg>
        <pc:picChg chg="add mod">
          <ac:chgData name="Vulluri, Akhila" userId="ee34657b-d571-4573-90b7-c782f19323b3" providerId="ADAL" clId="{DF4FA4CD-A2A3-4725-AAA1-61E295168D40}" dt="2025-06-16T10:25:44.153" v="1440" actId="1076"/>
          <ac:picMkLst>
            <pc:docMk/>
            <pc:sldMk cId="1788469670" sldId="2145706733"/>
            <ac:picMk id="10" creationId="{C6E0C4C5-AD6A-3183-9A51-D35C0FBA9BE9}"/>
          </ac:picMkLst>
        </pc:picChg>
        <pc:picChg chg="add mod">
          <ac:chgData name="Vulluri, Akhila" userId="ee34657b-d571-4573-90b7-c782f19323b3" providerId="ADAL" clId="{DF4FA4CD-A2A3-4725-AAA1-61E295168D40}" dt="2025-06-16T10:28:21.711" v="1462" actId="1076"/>
          <ac:picMkLst>
            <pc:docMk/>
            <pc:sldMk cId="1788469670" sldId="2145706733"/>
            <ac:picMk id="12" creationId="{22B7C0EB-1B3C-6D08-B65D-6DA0C3E9D4D8}"/>
          </ac:picMkLst>
        </pc:picChg>
        <pc:picChg chg="add mod">
          <ac:chgData name="Vulluri, Akhila" userId="ee34657b-d571-4573-90b7-c782f19323b3" providerId="ADAL" clId="{DF4FA4CD-A2A3-4725-AAA1-61E295168D40}" dt="2025-06-16T10:28:13.343" v="1459" actId="1076"/>
          <ac:picMkLst>
            <pc:docMk/>
            <pc:sldMk cId="1788469670" sldId="2145706733"/>
            <ac:picMk id="14" creationId="{F5D5639A-AC7A-87F8-69DF-88EFB2ECADC7}"/>
          </ac:picMkLst>
        </pc:picChg>
        <pc:picChg chg="add mod">
          <ac:chgData name="Vulluri, Akhila" userId="ee34657b-d571-4573-90b7-c782f19323b3" providerId="ADAL" clId="{DF4FA4CD-A2A3-4725-AAA1-61E295168D40}" dt="2025-06-16T10:29:36.284" v="1471" actId="1076"/>
          <ac:picMkLst>
            <pc:docMk/>
            <pc:sldMk cId="1788469670" sldId="2145706733"/>
            <ac:picMk id="16" creationId="{3E7A0802-44E0-1D19-0E7E-495914C604A1}"/>
          </ac:picMkLst>
        </pc:picChg>
      </pc:sldChg>
      <pc:sldChg chg="addSp delSp modSp add del mod modClrScheme chgLayout">
        <pc:chgData name="Vulluri, Akhila" userId="ee34657b-d571-4573-90b7-c782f19323b3" providerId="ADAL" clId="{DF4FA4CD-A2A3-4725-AAA1-61E295168D40}" dt="2025-06-16T10:18:19.118" v="1389" actId="47"/>
        <pc:sldMkLst>
          <pc:docMk/>
          <pc:sldMk cId="1939450116" sldId="2145706733"/>
        </pc:sldMkLst>
      </pc:sldChg>
      <pc:sldChg chg="addSp delSp modSp add del mod modClrScheme chgLayout">
        <pc:chgData name="Vulluri, Akhila" userId="ee34657b-d571-4573-90b7-c782f19323b3" providerId="ADAL" clId="{DF4FA4CD-A2A3-4725-AAA1-61E295168D40}" dt="2025-06-24T10:17:47.538" v="1829" actId="47"/>
        <pc:sldMkLst>
          <pc:docMk/>
          <pc:sldMk cId="1061271864" sldId="2145706734"/>
        </pc:sldMkLst>
      </pc:sldChg>
      <pc:sldChg chg="delSp modSp new mod modTransition modNotesTx">
        <pc:chgData name="Vulluri, Akhila" userId="ee34657b-d571-4573-90b7-c782f19323b3" providerId="ADAL" clId="{DF4FA4CD-A2A3-4725-AAA1-61E295168D40}" dt="2025-06-30T05:06:30.199" v="2350" actId="6549"/>
        <pc:sldMkLst>
          <pc:docMk/>
          <pc:sldMk cId="1932760137" sldId="2145706735"/>
        </pc:sldMkLst>
        <pc:spChg chg="mod">
          <ac:chgData name="Vulluri, Akhila" userId="ee34657b-d571-4573-90b7-c782f19323b3" providerId="ADAL" clId="{DF4FA4CD-A2A3-4725-AAA1-61E295168D40}" dt="2025-06-24T06:29:43.783" v="1676"/>
          <ac:spMkLst>
            <pc:docMk/>
            <pc:sldMk cId="1932760137" sldId="2145706735"/>
            <ac:spMk id="3" creationId="{6753DCEA-14B2-8677-89F3-BB90D1ECB7B1}"/>
          </ac:spMkLst>
        </pc:spChg>
      </pc:sldChg>
      <pc:sldChg chg="addSp delSp modSp new mod ord modTransition modNotesTx">
        <pc:chgData name="Vulluri, Akhila" userId="ee34657b-d571-4573-90b7-c782f19323b3" providerId="ADAL" clId="{DF4FA4CD-A2A3-4725-AAA1-61E295168D40}" dt="2025-06-30T05:04:03.782" v="2335" actId="6549"/>
        <pc:sldMkLst>
          <pc:docMk/>
          <pc:sldMk cId="1375431607" sldId="2145706736"/>
        </pc:sldMkLst>
        <pc:spChg chg="add del mod">
          <ac:chgData name="Vulluri, Akhila" userId="ee34657b-d571-4573-90b7-c782f19323b3" providerId="ADAL" clId="{DF4FA4CD-A2A3-4725-AAA1-61E295168D40}" dt="2025-06-16T12:55:17.306" v="1647" actId="1076"/>
          <ac:spMkLst>
            <pc:docMk/>
            <pc:sldMk cId="1375431607" sldId="2145706736"/>
            <ac:spMk id="3" creationId="{65C336A2-6CD5-8E7F-72E7-CB3969A251EA}"/>
          </ac:spMkLst>
        </pc:spChg>
      </pc:sldChg>
      <pc:sldChg chg="new del">
        <pc:chgData name="Vulluri, Akhila" userId="ee34657b-d571-4573-90b7-c782f19323b3" providerId="ADAL" clId="{DF4FA4CD-A2A3-4725-AAA1-61E295168D40}" dt="2025-06-23T11:28:59.837" v="1650" actId="47"/>
        <pc:sldMkLst>
          <pc:docMk/>
          <pc:sldMk cId="970442071" sldId="2145706737"/>
        </pc:sldMkLst>
      </pc:sldChg>
      <pc:sldChg chg="addSp delSp modSp new del mod">
        <pc:chgData name="Vulluri, Akhila" userId="ee34657b-d571-4573-90b7-c782f19323b3" providerId="ADAL" clId="{DF4FA4CD-A2A3-4725-AAA1-61E295168D40}" dt="2025-06-24T06:21:53.672" v="1656" actId="47"/>
        <pc:sldMkLst>
          <pc:docMk/>
          <pc:sldMk cId="2077352703" sldId="2145706737"/>
        </pc:sldMkLst>
      </pc:sldChg>
      <pc:sldChg chg="new del">
        <pc:chgData name="Vulluri, Akhila" userId="ee34657b-d571-4573-90b7-c782f19323b3" providerId="ADAL" clId="{DF4FA4CD-A2A3-4725-AAA1-61E295168D40}" dt="2025-06-16T11:32:47.221" v="1590" actId="47"/>
        <pc:sldMkLst>
          <pc:docMk/>
          <pc:sldMk cId="2584114597" sldId="2145706737"/>
        </pc:sldMkLst>
      </pc:sldChg>
      <pc:sldChg chg="addSp delSp modSp new mod modTransition modClrScheme chgLayout modNotesTx">
        <pc:chgData name="Vulluri, Akhila" userId="ee34657b-d571-4573-90b7-c782f19323b3" providerId="ADAL" clId="{DF4FA4CD-A2A3-4725-AAA1-61E295168D40}" dt="2025-06-29T10:43:56.016" v="2276"/>
        <pc:sldMkLst>
          <pc:docMk/>
          <pc:sldMk cId="3738279188" sldId="2145706738"/>
        </pc:sldMkLst>
        <pc:spChg chg="mod ord">
          <ac:chgData name="Vulluri, Akhila" userId="ee34657b-d571-4573-90b7-c782f19323b3" providerId="ADAL" clId="{DF4FA4CD-A2A3-4725-AAA1-61E295168D40}" dt="2025-06-24T10:44:09.130" v="1892" actId="2711"/>
          <ac:spMkLst>
            <pc:docMk/>
            <pc:sldMk cId="3738279188" sldId="2145706738"/>
            <ac:spMk id="3" creationId="{A8872304-0F52-4EE2-5336-399A77B7839C}"/>
          </ac:spMkLst>
        </pc:spChg>
        <pc:spChg chg="mod ord">
          <ac:chgData name="Vulluri, Akhila" userId="ee34657b-d571-4573-90b7-c782f19323b3" providerId="ADAL" clId="{DF4FA4CD-A2A3-4725-AAA1-61E295168D40}" dt="2025-06-24T09:57:34.552" v="1783" actId="26606"/>
          <ac:spMkLst>
            <pc:docMk/>
            <pc:sldMk cId="3738279188" sldId="2145706738"/>
            <ac:spMk id="5" creationId="{1146CDE0-55BF-1FE1-90E7-50C7AA422A25}"/>
          </ac:spMkLst>
        </pc:spChg>
        <pc:spChg chg="add">
          <ac:chgData name="Vulluri, Akhila" userId="ee34657b-d571-4573-90b7-c782f19323b3" providerId="ADAL" clId="{DF4FA4CD-A2A3-4725-AAA1-61E295168D40}" dt="2025-06-24T09:57:34.552" v="1783" actId="26606"/>
          <ac:spMkLst>
            <pc:docMk/>
            <pc:sldMk cId="3738279188" sldId="2145706738"/>
            <ac:spMk id="1035" creationId="{B0F4D778-CA77-F839-53C8-9A2503B45806}"/>
          </ac:spMkLst>
        </pc:spChg>
        <pc:picChg chg="add mod">
          <ac:chgData name="Vulluri, Akhila" userId="ee34657b-d571-4573-90b7-c782f19323b3" providerId="ADAL" clId="{DF4FA4CD-A2A3-4725-AAA1-61E295168D40}" dt="2025-06-24T09:57:34.552" v="1783" actId="26606"/>
          <ac:picMkLst>
            <pc:docMk/>
            <pc:sldMk cId="3738279188" sldId="2145706738"/>
            <ac:picMk id="1030" creationId="{94865EE0-20BE-F740-46FF-920398AD5AF4}"/>
          </ac:picMkLst>
        </pc:picChg>
      </pc:sldChg>
      <pc:sldChg chg="addSp delSp modSp add mod modTransition modNotesTx">
        <pc:chgData name="Vulluri, Akhila" userId="ee34657b-d571-4573-90b7-c782f19323b3" providerId="ADAL" clId="{DF4FA4CD-A2A3-4725-AAA1-61E295168D40}" dt="2025-06-30T05:05:37.338" v="2348" actId="20577"/>
        <pc:sldMkLst>
          <pc:docMk/>
          <pc:sldMk cId="330849303" sldId="2145706739"/>
        </pc:sldMkLst>
        <pc:spChg chg="mod">
          <ac:chgData name="Vulluri, Akhila" userId="ee34657b-d571-4573-90b7-c782f19323b3" providerId="ADAL" clId="{DF4FA4CD-A2A3-4725-AAA1-61E295168D40}" dt="2025-06-24T10:44:25.817" v="1894" actId="255"/>
          <ac:spMkLst>
            <pc:docMk/>
            <pc:sldMk cId="330849303" sldId="2145706739"/>
            <ac:spMk id="3" creationId="{C18E4FF6-66F2-5209-7539-B26FD015E4CD}"/>
          </ac:spMkLst>
        </pc:spChg>
        <pc:spChg chg="mod ord">
          <ac:chgData name="Vulluri, Akhila" userId="ee34657b-d571-4573-90b7-c782f19323b3" providerId="ADAL" clId="{DF4FA4CD-A2A3-4725-AAA1-61E295168D40}" dt="2025-06-24T10:05:58.155" v="1794" actId="26606"/>
          <ac:spMkLst>
            <pc:docMk/>
            <pc:sldMk cId="330849303" sldId="2145706739"/>
            <ac:spMk id="5" creationId="{79A2F1AE-2F92-99CC-8AE4-B28E2B90BC70}"/>
          </ac:spMkLst>
        </pc:spChg>
        <pc:spChg chg="add">
          <ac:chgData name="Vulluri, Akhila" userId="ee34657b-d571-4573-90b7-c782f19323b3" providerId="ADAL" clId="{DF4FA4CD-A2A3-4725-AAA1-61E295168D40}" dt="2025-06-24T10:05:58.155" v="1794" actId="26606"/>
          <ac:spMkLst>
            <pc:docMk/>
            <pc:sldMk cId="330849303" sldId="2145706739"/>
            <ac:spMk id="2060" creationId="{45E262A0-EF4E-C2C8-7784-CC6848DC1EF0}"/>
          </ac:spMkLst>
        </pc:spChg>
        <pc:spChg chg="add">
          <ac:chgData name="Vulluri, Akhila" userId="ee34657b-d571-4573-90b7-c782f19323b3" providerId="ADAL" clId="{DF4FA4CD-A2A3-4725-AAA1-61E295168D40}" dt="2025-06-24T10:05:58.155" v="1794" actId="26606"/>
          <ac:spMkLst>
            <pc:docMk/>
            <pc:sldMk cId="330849303" sldId="2145706739"/>
            <ac:spMk id="2062" creationId="{222AD586-5E76-9896-8265-9097D08EB9C1}"/>
          </ac:spMkLst>
        </pc:spChg>
        <pc:picChg chg="add mod">
          <ac:chgData name="Vulluri, Akhila" userId="ee34657b-d571-4573-90b7-c782f19323b3" providerId="ADAL" clId="{DF4FA4CD-A2A3-4725-AAA1-61E295168D40}" dt="2025-06-24T10:06:03.291" v="1795" actId="27614"/>
          <ac:picMkLst>
            <pc:docMk/>
            <pc:sldMk cId="330849303" sldId="2145706739"/>
            <ac:picMk id="6" creationId="{4D975C1D-45A2-F476-F4D3-C2CCD677BBDD}"/>
          </ac:picMkLst>
        </pc:picChg>
      </pc:sldChg>
      <pc:sldChg chg="new del">
        <pc:chgData name="Vulluri, Akhila" userId="ee34657b-d571-4573-90b7-c782f19323b3" providerId="ADAL" clId="{DF4FA4CD-A2A3-4725-AAA1-61E295168D40}" dt="2025-06-24T06:29:57.105" v="1680" actId="47"/>
        <pc:sldMkLst>
          <pc:docMk/>
          <pc:sldMk cId="1697320023" sldId="2145706740"/>
        </pc:sldMkLst>
      </pc:sldChg>
      <pc:sldChg chg="addSp delSp modSp new mod modTransition modClrScheme chgLayout modNotesTx">
        <pc:chgData name="Vulluri, Akhila" userId="ee34657b-d571-4573-90b7-c782f19323b3" providerId="ADAL" clId="{DF4FA4CD-A2A3-4725-AAA1-61E295168D40}" dt="2025-06-29T10:43:56.016" v="2276"/>
        <pc:sldMkLst>
          <pc:docMk/>
          <pc:sldMk cId="2375912786" sldId="2145706740"/>
        </pc:sldMkLst>
        <pc:spChg chg="mod">
          <ac:chgData name="Vulluri, Akhila" userId="ee34657b-d571-4573-90b7-c782f19323b3" providerId="ADAL" clId="{DF4FA4CD-A2A3-4725-AAA1-61E295168D40}" dt="2025-06-24T10:45:21.519" v="1897" actId="2711"/>
          <ac:spMkLst>
            <pc:docMk/>
            <pc:sldMk cId="2375912786" sldId="2145706740"/>
            <ac:spMk id="3" creationId="{735158A2-1ED5-DA63-86D9-0B0800961826}"/>
          </ac:spMkLst>
        </pc:spChg>
        <pc:spChg chg="mod ord">
          <ac:chgData name="Vulluri, Akhila" userId="ee34657b-d571-4573-90b7-c782f19323b3" providerId="ADAL" clId="{DF4FA4CD-A2A3-4725-AAA1-61E295168D40}" dt="2025-06-24T10:11:19.072" v="1811" actId="26606"/>
          <ac:spMkLst>
            <pc:docMk/>
            <pc:sldMk cId="2375912786" sldId="2145706740"/>
            <ac:spMk id="5" creationId="{068333FA-16C2-13DB-4E58-841B4BC9501A}"/>
          </ac:spMkLst>
        </pc:spChg>
        <pc:spChg chg="add mod">
          <ac:chgData name="Vulluri, Akhila" userId="ee34657b-d571-4573-90b7-c782f19323b3" providerId="ADAL" clId="{DF4FA4CD-A2A3-4725-AAA1-61E295168D40}" dt="2025-06-24T10:11:19.072" v="1811" actId="26606"/>
          <ac:spMkLst>
            <pc:docMk/>
            <pc:sldMk cId="2375912786" sldId="2145706740"/>
            <ac:spMk id="3083" creationId="{C2E5B98D-5445-2C8A-25D3-BAFCA4FF03E3}"/>
          </ac:spMkLst>
        </pc:spChg>
        <pc:picChg chg="add mod">
          <ac:chgData name="Vulluri, Akhila" userId="ee34657b-d571-4573-90b7-c782f19323b3" providerId="ADAL" clId="{DF4FA4CD-A2A3-4725-AAA1-61E295168D40}" dt="2025-06-24T10:11:19.072" v="1811" actId="26606"/>
          <ac:picMkLst>
            <pc:docMk/>
            <pc:sldMk cId="2375912786" sldId="2145706740"/>
            <ac:picMk id="3078" creationId="{AF5EC19D-7136-F85E-EB37-609982D51D91}"/>
          </ac:picMkLst>
        </pc:picChg>
      </pc:sldChg>
      <pc:sldChg chg="addSp delSp modSp new mod modTransition modClrScheme chgLayout modNotesTx">
        <pc:chgData name="Vulluri, Akhila" userId="ee34657b-d571-4573-90b7-c782f19323b3" providerId="ADAL" clId="{DF4FA4CD-A2A3-4725-AAA1-61E295168D40}" dt="2025-06-29T10:43:56.016" v="2276"/>
        <pc:sldMkLst>
          <pc:docMk/>
          <pc:sldMk cId="2994683847" sldId="2145706741"/>
        </pc:sldMkLst>
        <pc:spChg chg="mod">
          <ac:chgData name="Vulluri, Akhila" userId="ee34657b-d571-4573-90b7-c782f19323b3" providerId="ADAL" clId="{DF4FA4CD-A2A3-4725-AAA1-61E295168D40}" dt="2025-06-24T10:45:09.885" v="1896" actId="2711"/>
          <ac:spMkLst>
            <pc:docMk/>
            <pc:sldMk cId="2994683847" sldId="2145706741"/>
            <ac:spMk id="3" creationId="{E502D630-BD92-4C21-9201-2F5C0F014D06}"/>
          </ac:spMkLst>
        </pc:spChg>
        <pc:spChg chg="mod ord">
          <ac:chgData name="Vulluri, Akhila" userId="ee34657b-d571-4573-90b7-c782f19323b3" providerId="ADAL" clId="{DF4FA4CD-A2A3-4725-AAA1-61E295168D40}" dt="2025-06-24T10:12:43.614" v="1817" actId="26606"/>
          <ac:spMkLst>
            <pc:docMk/>
            <pc:sldMk cId="2994683847" sldId="2145706741"/>
            <ac:spMk id="5" creationId="{298CC299-4E88-EEA4-BA9F-EA6F09F18208}"/>
          </ac:spMkLst>
        </pc:spChg>
        <pc:picChg chg="add mod">
          <ac:chgData name="Vulluri, Akhila" userId="ee34657b-d571-4573-90b7-c782f19323b3" providerId="ADAL" clId="{DF4FA4CD-A2A3-4725-AAA1-61E295168D40}" dt="2025-06-24T10:12:43.614" v="1817" actId="26606"/>
          <ac:picMkLst>
            <pc:docMk/>
            <pc:sldMk cId="2994683847" sldId="2145706741"/>
            <ac:picMk id="4098" creationId="{81EE71B9-39D2-D27F-CD5E-6D8BC349E34D}"/>
          </ac:picMkLst>
        </pc:picChg>
      </pc:sldChg>
      <pc:sldChg chg="delSp modSp new mod modTransition modNotesTx">
        <pc:chgData name="Vulluri, Akhila" userId="ee34657b-d571-4573-90b7-c782f19323b3" providerId="ADAL" clId="{DF4FA4CD-A2A3-4725-AAA1-61E295168D40}" dt="2025-06-30T05:07:33.337" v="2353" actId="20577"/>
        <pc:sldMkLst>
          <pc:docMk/>
          <pc:sldMk cId="2247614131" sldId="2145706742"/>
        </pc:sldMkLst>
        <pc:spChg chg="mod">
          <ac:chgData name="Vulluri, Akhila" userId="ee34657b-d571-4573-90b7-c782f19323b3" providerId="ADAL" clId="{DF4FA4CD-A2A3-4725-AAA1-61E295168D40}" dt="2025-06-24T06:33:38.957" v="1700" actId="1076"/>
          <ac:spMkLst>
            <pc:docMk/>
            <pc:sldMk cId="2247614131" sldId="2145706742"/>
            <ac:spMk id="3" creationId="{5E9B0590-2B1A-0B9D-E765-355360DCA21C}"/>
          </ac:spMkLst>
        </pc:spChg>
      </pc:sldChg>
      <pc:sldChg chg="delSp modSp new mod modTransition modNotesTx">
        <pc:chgData name="Vulluri, Akhila" userId="ee34657b-d571-4573-90b7-c782f19323b3" providerId="ADAL" clId="{DF4FA4CD-A2A3-4725-AAA1-61E295168D40}" dt="2025-06-30T05:08:39.072" v="2354" actId="6549"/>
        <pc:sldMkLst>
          <pc:docMk/>
          <pc:sldMk cId="1433339314" sldId="2145706743"/>
        </pc:sldMkLst>
        <pc:spChg chg="mod">
          <ac:chgData name="Vulluri, Akhila" userId="ee34657b-d571-4573-90b7-c782f19323b3" providerId="ADAL" clId="{DF4FA4CD-A2A3-4725-AAA1-61E295168D40}" dt="2025-06-24T06:35:49.943" v="1721" actId="20577"/>
          <ac:spMkLst>
            <pc:docMk/>
            <pc:sldMk cId="1433339314" sldId="2145706743"/>
            <ac:spMk id="3" creationId="{C4F4AFBE-D9D3-1FC7-C46F-7D688B7A8038}"/>
          </ac:spMkLst>
        </pc:spChg>
      </pc:sldChg>
      <pc:sldChg chg="new del">
        <pc:chgData name="Vulluri, Akhila" userId="ee34657b-d571-4573-90b7-c782f19323b3" providerId="ADAL" clId="{DF4FA4CD-A2A3-4725-AAA1-61E295168D40}" dt="2025-06-24T06:34:28.918" v="1712" actId="47"/>
        <pc:sldMkLst>
          <pc:docMk/>
          <pc:sldMk cId="3013945553" sldId="2145706743"/>
        </pc:sldMkLst>
      </pc:sldChg>
      <pc:sldChg chg="addSp delSp modSp new mod modTransition modNotesTx">
        <pc:chgData name="Vulluri, Akhila" userId="ee34657b-d571-4573-90b7-c782f19323b3" providerId="ADAL" clId="{DF4FA4CD-A2A3-4725-AAA1-61E295168D40}" dt="2025-06-29T10:43:56.016" v="2276"/>
        <pc:sldMkLst>
          <pc:docMk/>
          <pc:sldMk cId="3648417403" sldId="2145706744"/>
        </pc:sldMkLst>
        <pc:spChg chg="mod">
          <ac:chgData name="Vulluri, Akhila" userId="ee34657b-d571-4573-90b7-c782f19323b3" providerId="ADAL" clId="{DF4FA4CD-A2A3-4725-AAA1-61E295168D40}" dt="2025-06-24T10:44:55.490" v="1895" actId="2711"/>
          <ac:spMkLst>
            <pc:docMk/>
            <pc:sldMk cId="3648417403" sldId="2145706744"/>
            <ac:spMk id="3" creationId="{9647E48B-16BA-6A11-1ED1-25211E2D7D3D}"/>
          </ac:spMkLst>
        </pc:spChg>
        <pc:spChg chg="mod ord">
          <ac:chgData name="Vulluri, Akhila" userId="ee34657b-d571-4573-90b7-c782f19323b3" providerId="ADAL" clId="{DF4FA4CD-A2A3-4725-AAA1-61E295168D40}" dt="2025-06-24T10:14:22.577" v="1822" actId="26606"/>
          <ac:spMkLst>
            <pc:docMk/>
            <pc:sldMk cId="3648417403" sldId="2145706744"/>
            <ac:spMk id="5" creationId="{46F234A1-A775-670D-AED2-CF6EDF55472B}"/>
          </ac:spMkLst>
        </pc:spChg>
        <pc:picChg chg="add mod">
          <ac:chgData name="Vulluri, Akhila" userId="ee34657b-d571-4573-90b7-c782f19323b3" providerId="ADAL" clId="{DF4FA4CD-A2A3-4725-AAA1-61E295168D40}" dt="2025-06-24T10:14:22.577" v="1822" actId="26606"/>
          <ac:picMkLst>
            <pc:docMk/>
            <pc:sldMk cId="3648417403" sldId="2145706744"/>
            <ac:picMk id="5122" creationId="{AEFAF30C-C3F7-04A2-13A1-CC345BEACE15}"/>
          </ac:picMkLst>
        </pc:picChg>
      </pc:sldChg>
      <pc:sldChg chg="addSp delSp modSp new mod modTransition modNotesTx">
        <pc:chgData name="Vulluri, Akhila" userId="ee34657b-d571-4573-90b7-c782f19323b3" providerId="ADAL" clId="{DF4FA4CD-A2A3-4725-AAA1-61E295168D40}" dt="2025-06-29T10:43:56.016" v="2276"/>
        <pc:sldMkLst>
          <pc:docMk/>
          <pc:sldMk cId="2327974873" sldId="2145706745"/>
        </pc:sldMkLst>
        <pc:spChg chg="mod">
          <ac:chgData name="Vulluri, Akhila" userId="ee34657b-d571-4573-90b7-c782f19323b3" providerId="ADAL" clId="{DF4FA4CD-A2A3-4725-AAA1-61E295168D40}" dt="2025-06-24T10:47:20.955" v="1924" actId="2711"/>
          <ac:spMkLst>
            <pc:docMk/>
            <pc:sldMk cId="2327974873" sldId="2145706745"/>
            <ac:spMk id="3" creationId="{3B9E0522-6A7E-A3BC-0827-10AA79B10871}"/>
          </ac:spMkLst>
        </pc:spChg>
        <pc:spChg chg="mod">
          <ac:chgData name="Vulluri, Akhila" userId="ee34657b-d571-4573-90b7-c782f19323b3" providerId="ADAL" clId="{DF4FA4CD-A2A3-4725-AAA1-61E295168D40}" dt="2025-06-24T10:54:43.939" v="1945" actId="20577"/>
          <ac:spMkLst>
            <pc:docMk/>
            <pc:sldMk cId="2327974873" sldId="2145706745"/>
            <ac:spMk id="5" creationId="{79154B34-8A6D-9F95-FD6C-7D8B780E515F}"/>
          </ac:spMkLst>
        </pc:spChg>
        <pc:picChg chg="add mod">
          <ac:chgData name="Vulluri, Akhila" userId="ee34657b-d571-4573-90b7-c782f19323b3" providerId="ADAL" clId="{DF4FA4CD-A2A3-4725-AAA1-61E295168D40}" dt="2025-06-24T10:17:28.392" v="1827" actId="27614"/>
          <ac:picMkLst>
            <pc:docMk/>
            <pc:sldMk cId="2327974873" sldId="2145706745"/>
            <ac:picMk id="6" creationId="{369956A3-07E6-707E-63D3-B0B87BBAF8E7}"/>
          </ac:picMkLst>
        </pc:picChg>
      </pc:sldChg>
      <pc:sldChg chg="delSp modSp new mod modTransition modNotesTx">
        <pc:chgData name="Vulluri, Akhila" userId="ee34657b-d571-4573-90b7-c782f19323b3" providerId="ADAL" clId="{DF4FA4CD-A2A3-4725-AAA1-61E295168D40}" dt="2025-06-29T10:43:56.016" v="2276"/>
        <pc:sldMkLst>
          <pc:docMk/>
          <pc:sldMk cId="1743754976" sldId="2145706746"/>
        </pc:sldMkLst>
        <pc:spChg chg="mod">
          <ac:chgData name="Vulluri, Akhila" userId="ee34657b-d571-4573-90b7-c782f19323b3" providerId="ADAL" clId="{DF4FA4CD-A2A3-4725-AAA1-61E295168D40}" dt="2025-06-24T10:54:52.431" v="1957" actId="20577"/>
          <ac:spMkLst>
            <pc:docMk/>
            <pc:sldMk cId="1743754976" sldId="2145706746"/>
            <ac:spMk id="3" creationId="{1E1EE8D8-A895-6A82-4515-F93BFB51B0E2}"/>
          </ac:spMkLst>
        </pc:spChg>
      </pc:sldChg>
      <pc:sldMasterChg chg="modSp modSldLayout">
        <pc:chgData name="Vulluri, Akhila" userId="ee34657b-d571-4573-90b7-c782f19323b3" providerId="ADAL" clId="{DF4FA4CD-A2A3-4725-AAA1-61E295168D40}" dt="2025-06-24T10:30:39.843" v="1850" actId="2711"/>
        <pc:sldMasterMkLst>
          <pc:docMk/>
          <pc:sldMasterMk cId="2719133398" sldId="2147484118"/>
        </pc:sldMasterMkLst>
        <pc:spChg chg="mod">
          <ac:chgData name="Vulluri, Akhila" userId="ee34657b-d571-4573-90b7-c782f19323b3" providerId="ADAL" clId="{DF4FA4CD-A2A3-4725-AAA1-61E295168D40}" dt="2025-06-24T10:27:41.211" v="1838" actId="113"/>
          <ac:spMkLst>
            <pc:docMk/>
            <pc:sldMasterMk cId="2719133398" sldId="2147484118"/>
            <ac:spMk id="5" creationId="{D28F27D4-FFE2-4FAB-BA1B-9D013846C4B7}"/>
          </ac:spMkLst>
        </pc:spChg>
        <pc:sldLayoutChg chg="modSp">
          <pc:chgData name="Vulluri, Akhila" userId="ee34657b-d571-4573-90b7-c782f19323b3" providerId="ADAL" clId="{DF4FA4CD-A2A3-4725-AAA1-61E295168D40}" dt="2025-06-24T10:28:54.378" v="1841" actId="108"/>
          <pc:sldLayoutMkLst>
            <pc:docMk/>
            <pc:sldMasterMk cId="2719133398" sldId="2147484118"/>
            <pc:sldLayoutMk cId="2126607609" sldId="2147484119"/>
          </pc:sldLayoutMkLst>
          <pc:spChg chg="mod">
            <ac:chgData name="Vulluri, Akhila" userId="ee34657b-d571-4573-90b7-c782f19323b3" providerId="ADAL" clId="{DF4FA4CD-A2A3-4725-AAA1-61E295168D40}" dt="2025-06-24T10:28:54.378" v="1841" actId="108"/>
            <ac:spMkLst>
              <pc:docMk/>
              <pc:sldMasterMk cId="2719133398" sldId="2147484118"/>
              <pc:sldLayoutMk cId="2126607609" sldId="2147484119"/>
              <ac:spMk id="5" creationId="{EA67FB30-5217-5F8D-B4ED-781E4E0C8973}"/>
            </ac:spMkLst>
          </pc:spChg>
        </pc:sldLayoutChg>
        <pc:sldLayoutChg chg="modSp">
          <pc:chgData name="Vulluri, Akhila" userId="ee34657b-d571-4573-90b7-c782f19323b3" providerId="ADAL" clId="{DF4FA4CD-A2A3-4725-AAA1-61E295168D40}" dt="2025-06-24T10:29:29.208" v="1847" actId="255"/>
          <pc:sldLayoutMkLst>
            <pc:docMk/>
            <pc:sldMasterMk cId="2719133398" sldId="2147484118"/>
            <pc:sldLayoutMk cId="883220528" sldId="2147484158"/>
          </pc:sldLayoutMkLst>
          <pc:spChg chg="mod">
            <ac:chgData name="Vulluri, Akhila" userId="ee34657b-d571-4573-90b7-c782f19323b3" providerId="ADAL" clId="{DF4FA4CD-A2A3-4725-AAA1-61E295168D40}" dt="2025-06-24T10:29:29.208" v="1847" actId="255"/>
            <ac:spMkLst>
              <pc:docMk/>
              <pc:sldMasterMk cId="2719133398" sldId="2147484118"/>
              <pc:sldLayoutMk cId="883220528" sldId="2147484158"/>
              <ac:spMk id="7" creationId="{79EA84EC-0E0C-41F6-8286-BC5A87DC6C7B}"/>
            </ac:spMkLst>
          </pc:spChg>
        </pc:sldLayoutChg>
        <pc:sldLayoutChg chg="modSp">
          <pc:chgData name="Vulluri, Akhila" userId="ee34657b-d571-4573-90b7-c782f19323b3" providerId="ADAL" clId="{DF4FA4CD-A2A3-4725-AAA1-61E295168D40}" dt="2025-06-24T10:29:21.189" v="1845" actId="255"/>
          <pc:sldLayoutMkLst>
            <pc:docMk/>
            <pc:sldMasterMk cId="2719133398" sldId="2147484118"/>
            <pc:sldLayoutMk cId="3960099100" sldId="2147484162"/>
          </pc:sldLayoutMkLst>
          <pc:spChg chg="mod">
            <ac:chgData name="Vulluri, Akhila" userId="ee34657b-d571-4573-90b7-c782f19323b3" providerId="ADAL" clId="{DF4FA4CD-A2A3-4725-AAA1-61E295168D40}" dt="2025-06-24T10:29:21.189" v="1845" actId="255"/>
            <ac:spMkLst>
              <pc:docMk/>
              <pc:sldMasterMk cId="2719133398" sldId="2147484118"/>
              <pc:sldLayoutMk cId="3960099100" sldId="2147484162"/>
              <ac:spMk id="4" creationId="{6C58B55F-3EAC-C6DA-30E9-A9EAE34D711F}"/>
            </ac:spMkLst>
          </pc:spChg>
        </pc:sldLayoutChg>
        <pc:sldLayoutChg chg="modSp setBg">
          <pc:chgData name="Vulluri, Akhila" userId="ee34657b-d571-4573-90b7-c782f19323b3" providerId="ADAL" clId="{DF4FA4CD-A2A3-4725-AAA1-61E295168D40}" dt="2025-06-24T10:28:28.356" v="1840"/>
          <pc:sldLayoutMkLst>
            <pc:docMk/>
            <pc:sldMasterMk cId="2719133398" sldId="2147484118"/>
            <pc:sldLayoutMk cId="3684368677" sldId="2147484165"/>
          </pc:sldLayoutMkLst>
          <pc:spChg chg="mod">
            <ac:chgData name="Vulluri, Akhila" userId="ee34657b-d571-4573-90b7-c782f19323b3" providerId="ADAL" clId="{DF4FA4CD-A2A3-4725-AAA1-61E295168D40}" dt="2025-06-24T10:27:01.550" v="1834" actId="2711"/>
            <ac:spMkLst>
              <pc:docMk/>
              <pc:sldMasterMk cId="2719133398" sldId="2147484118"/>
              <pc:sldLayoutMk cId="3684368677" sldId="2147484165"/>
              <ac:spMk id="15" creationId="{BA5DDAC5-BAB8-79F8-0B48-89767D2C03B3}"/>
            </ac:spMkLst>
          </pc:spChg>
        </pc:sldLayoutChg>
        <pc:sldLayoutChg chg="modSp">
          <pc:chgData name="Vulluri, Akhila" userId="ee34657b-d571-4573-90b7-c782f19323b3" providerId="ADAL" clId="{DF4FA4CD-A2A3-4725-AAA1-61E295168D40}" dt="2025-06-24T10:29:34.791" v="1848" actId="2711"/>
          <pc:sldLayoutMkLst>
            <pc:docMk/>
            <pc:sldMasterMk cId="2719133398" sldId="2147484118"/>
            <pc:sldLayoutMk cId="669291101" sldId="2147484169"/>
          </pc:sldLayoutMkLst>
          <pc:spChg chg="mod">
            <ac:chgData name="Vulluri, Akhila" userId="ee34657b-d571-4573-90b7-c782f19323b3" providerId="ADAL" clId="{DF4FA4CD-A2A3-4725-AAA1-61E295168D40}" dt="2025-06-24T10:29:34.791" v="1848" actId="2711"/>
            <ac:spMkLst>
              <pc:docMk/>
              <pc:sldMasterMk cId="2719133398" sldId="2147484118"/>
              <pc:sldLayoutMk cId="669291101" sldId="2147484169"/>
              <ac:spMk id="7" creationId="{46ABBE1C-3373-50D9-4152-CA1AC4A5E7F0}"/>
            </ac:spMkLst>
          </pc:spChg>
        </pc:sldLayoutChg>
        <pc:sldLayoutChg chg="modSp">
          <pc:chgData name="Vulluri, Akhila" userId="ee34657b-d571-4573-90b7-c782f19323b3" providerId="ADAL" clId="{DF4FA4CD-A2A3-4725-AAA1-61E295168D40}" dt="2025-06-24T10:27:11.106" v="1835" actId="2711"/>
          <pc:sldLayoutMkLst>
            <pc:docMk/>
            <pc:sldMasterMk cId="2719133398" sldId="2147484118"/>
            <pc:sldLayoutMk cId="3822078082" sldId="2147484177"/>
          </pc:sldLayoutMkLst>
          <pc:spChg chg="mod">
            <ac:chgData name="Vulluri, Akhila" userId="ee34657b-d571-4573-90b7-c782f19323b3" providerId="ADAL" clId="{DF4FA4CD-A2A3-4725-AAA1-61E295168D40}" dt="2025-06-24T10:27:11.106" v="1835" actId="2711"/>
            <ac:spMkLst>
              <pc:docMk/>
              <pc:sldMasterMk cId="2719133398" sldId="2147484118"/>
              <pc:sldLayoutMk cId="3822078082" sldId="2147484177"/>
              <ac:spMk id="3" creationId="{4AAC7C66-F303-132A-295B-65A79300A34B}"/>
            </ac:spMkLst>
          </pc:spChg>
        </pc:sldLayoutChg>
        <pc:sldLayoutChg chg="modSp">
          <pc:chgData name="Vulluri, Akhila" userId="ee34657b-d571-4573-90b7-c782f19323b3" providerId="ADAL" clId="{DF4FA4CD-A2A3-4725-AAA1-61E295168D40}" dt="2025-06-24T10:29:42.081" v="1849" actId="2711"/>
          <pc:sldLayoutMkLst>
            <pc:docMk/>
            <pc:sldMasterMk cId="2719133398" sldId="2147484118"/>
            <pc:sldLayoutMk cId="3339025741" sldId="2147484180"/>
          </pc:sldLayoutMkLst>
          <pc:spChg chg="mod">
            <ac:chgData name="Vulluri, Akhila" userId="ee34657b-d571-4573-90b7-c782f19323b3" providerId="ADAL" clId="{DF4FA4CD-A2A3-4725-AAA1-61E295168D40}" dt="2025-06-24T10:29:42.081" v="1849" actId="2711"/>
            <ac:spMkLst>
              <pc:docMk/>
              <pc:sldMasterMk cId="2719133398" sldId="2147484118"/>
              <pc:sldLayoutMk cId="3339025741" sldId="2147484180"/>
              <ac:spMk id="7" creationId="{46ABBE1C-3373-50D9-4152-CA1AC4A5E7F0}"/>
            </ac:spMkLst>
          </pc:spChg>
        </pc:sldLayoutChg>
        <pc:sldLayoutChg chg="modSp">
          <pc:chgData name="Vulluri, Akhila" userId="ee34657b-d571-4573-90b7-c782f19323b3" providerId="ADAL" clId="{DF4FA4CD-A2A3-4725-AAA1-61E295168D40}" dt="2025-06-24T10:30:39.843" v="1850" actId="2711"/>
          <pc:sldLayoutMkLst>
            <pc:docMk/>
            <pc:sldMasterMk cId="2719133398" sldId="2147484118"/>
            <pc:sldLayoutMk cId="3938670665" sldId="2147484184"/>
          </pc:sldLayoutMkLst>
          <pc:spChg chg="mod">
            <ac:chgData name="Vulluri, Akhila" userId="ee34657b-d571-4573-90b7-c782f19323b3" providerId="ADAL" clId="{DF4FA4CD-A2A3-4725-AAA1-61E295168D40}" dt="2025-06-24T10:30:39.843" v="1850" actId="2711"/>
            <ac:spMkLst>
              <pc:docMk/>
              <pc:sldMasterMk cId="2719133398" sldId="2147484118"/>
              <pc:sldLayoutMk cId="3938670665" sldId="2147484184"/>
              <ac:spMk id="7" creationId="{46ABBE1C-3373-50D9-4152-CA1AC4A5E7F0}"/>
            </ac:spMkLst>
          </pc:spChg>
        </pc:sldLayoutChg>
        <pc:sldLayoutChg chg="modSp">
          <pc:chgData name="Vulluri, Akhila" userId="ee34657b-d571-4573-90b7-c782f19323b3" providerId="ADAL" clId="{DF4FA4CD-A2A3-4725-AAA1-61E295168D40}" dt="2025-06-24T10:26:37.954" v="1833" actId="2711"/>
          <pc:sldLayoutMkLst>
            <pc:docMk/>
            <pc:sldMasterMk cId="2719133398" sldId="2147484118"/>
            <pc:sldLayoutMk cId="2789868569" sldId="2147484187"/>
          </pc:sldLayoutMkLst>
          <pc:spChg chg="mod">
            <ac:chgData name="Vulluri, Akhila" userId="ee34657b-d571-4573-90b7-c782f19323b3" providerId="ADAL" clId="{DF4FA4CD-A2A3-4725-AAA1-61E295168D40}" dt="2025-06-24T10:26:37.954" v="1833" actId="2711"/>
            <ac:spMkLst>
              <pc:docMk/>
              <pc:sldMasterMk cId="2719133398" sldId="2147484118"/>
              <pc:sldLayoutMk cId="2789868569" sldId="2147484187"/>
              <ac:spMk id="7" creationId="{46ABBE1C-3373-50D9-4152-CA1AC4A5E7F0}"/>
            </ac:spMkLst>
          </pc:spChg>
        </pc:sldLayoutChg>
        <pc:sldLayoutChg chg="modSp">
          <pc:chgData name="Vulluri, Akhila" userId="ee34657b-d571-4573-90b7-c782f19323b3" providerId="ADAL" clId="{DF4FA4CD-A2A3-4725-AAA1-61E295168D40}" dt="2025-06-24T10:27:19.445" v="1836" actId="2711"/>
          <pc:sldLayoutMkLst>
            <pc:docMk/>
            <pc:sldMasterMk cId="2719133398" sldId="2147484118"/>
            <pc:sldLayoutMk cId="393741555" sldId="2147484198"/>
          </pc:sldLayoutMkLst>
          <pc:spChg chg="mod">
            <ac:chgData name="Vulluri, Akhila" userId="ee34657b-d571-4573-90b7-c782f19323b3" providerId="ADAL" clId="{DF4FA4CD-A2A3-4725-AAA1-61E295168D40}" dt="2025-06-24T10:27:19.445" v="1836" actId="2711"/>
            <ac:spMkLst>
              <pc:docMk/>
              <pc:sldMasterMk cId="2719133398" sldId="2147484118"/>
              <pc:sldLayoutMk cId="393741555" sldId="2147484198"/>
              <ac:spMk id="5" creationId="{EA67FB30-5217-5F8D-B4ED-781E4E0C8973}"/>
            </ac:spMkLst>
          </pc:spChg>
        </pc:sldLayoutChg>
        <pc:sldLayoutChg chg="modSp">
          <pc:chgData name="Vulluri, Akhila" userId="ee34657b-d571-4573-90b7-c782f19323b3" providerId="ADAL" clId="{DF4FA4CD-A2A3-4725-AAA1-61E295168D40}" dt="2025-06-24T10:29:13.164" v="1843" actId="255"/>
          <pc:sldLayoutMkLst>
            <pc:docMk/>
            <pc:sldMasterMk cId="2719133398" sldId="2147484118"/>
            <pc:sldLayoutMk cId="1873264000" sldId="2147484199"/>
          </pc:sldLayoutMkLst>
          <pc:spChg chg="mod">
            <ac:chgData name="Vulluri, Akhila" userId="ee34657b-d571-4573-90b7-c782f19323b3" providerId="ADAL" clId="{DF4FA4CD-A2A3-4725-AAA1-61E295168D40}" dt="2025-06-24T10:29:13.164" v="1843" actId="255"/>
            <ac:spMkLst>
              <pc:docMk/>
              <pc:sldMasterMk cId="2719133398" sldId="2147484118"/>
              <pc:sldLayoutMk cId="1873264000" sldId="2147484199"/>
              <ac:spMk id="4" creationId="{6C58B55F-3EAC-C6DA-30E9-A9EAE34D711F}"/>
            </ac:spMkLst>
          </pc:spChg>
        </pc:sldLayoutChg>
      </pc:sldMasterChg>
    </pc:docChg>
  </pc:docChgLst>
</pc:chgInfo>
</file>

<file path=ppt/diagrams/_rels/data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svg"/><Relationship Id="rId1" Type="http://schemas.openxmlformats.org/officeDocument/2006/relationships/image" Target="../media/image43.png"/><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diagrams/_rels/drawing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svg"/><Relationship Id="rId1" Type="http://schemas.openxmlformats.org/officeDocument/2006/relationships/image" Target="../media/image43.png"/><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3E9EA5-C3A8-4146-8532-C27A4AE61B30}" type="doc">
      <dgm:prSet loTypeId="urn:microsoft.com/office/officeart/2005/8/layout/vList2" loCatId="list" qsTypeId="urn:microsoft.com/office/officeart/2005/8/quickstyle/simple4" qsCatId="simple" csTypeId="urn:microsoft.com/office/officeart/2005/8/colors/accent2_2" csCatId="accent2" phldr="1"/>
      <dgm:spPr/>
      <dgm:t>
        <a:bodyPr/>
        <a:lstStyle/>
        <a:p>
          <a:endParaRPr lang="en-US"/>
        </a:p>
      </dgm:t>
    </dgm:pt>
    <dgm:pt modelId="{95ECCF00-7513-44C8-B398-ABF704288D73}">
      <dgm:prSet/>
      <dgm:spPr/>
      <dgm:t>
        <a:bodyPr/>
        <a:lstStyle/>
        <a:p>
          <a:r>
            <a:rPr lang="en-IN" dirty="0"/>
            <a:t>Simulate aerodynamics, crash behaviour, and NVH (Noise, Vibration, Harshness)</a:t>
          </a:r>
          <a:endParaRPr lang="en-US" dirty="0"/>
        </a:p>
      </dgm:t>
    </dgm:pt>
    <dgm:pt modelId="{EE6DA2C5-2CED-4E41-A053-0AAA9817C3ED}" type="parTrans" cxnId="{41CF46E8-BC60-4C44-8D60-21D9D15BD28B}">
      <dgm:prSet/>
      <dgm:spPr/>
      <dgm:t>
        <a:bodyPr/>
        <a:lstStyle/>
        <a:p>
          <a:endParaRPr lang="en-US"/>
        </a:p>
      </dgm:t>
    </dgm:pt>
    <dgm:pt modelId="{5F0CAAC0-78EB-4FCC-8649-F508792E655D}" type="sibTrans" cxnId="{41CF46E8-BC60-4C44-8D60-21D9D15BD28B}">
      <dgm:prSet/>
      <dgm:spPr/>
      <dgm:t>
        <a:bodyPr/>
        <a:lstStyle/>
        <a:p>
          <a:endParaRPr lang="en-US"/>
        </a:p>
      </dgm:t>
    </dgm:pt>
    <dgm:pt modelId="{71992375-8CBF-456D-8F56-D5B8DB752498}">
      <dgm:prSet/>
      <dgm:spPr/>
      <dgm:t>
        <a:bodyPr/>
        <a:lstStyle/>
        <a:p>
          <a:r>
            <a:rPr lang="en-IN"/>
            <a:t>Reduce physical prototyping time and cost</a:t>
          </a:r>
          <a:endParaRPr lang="en-US"/>
        </a:p>
      </dgm:t>
    </dgm:pt>
    <dgm:pt modelId="{D20A0C55-9C13-498A-BE73-73ADECAF0A3A}" type="parTrans" cxnId="{7D2C212F-BAD1-44AD-BD6F-44C95EDE969B}">
      <dgm:prSet/>
      <dgm:spPr/>
      <dgm:t>
        <a:bodyPr/>
        <a:lstStyle/>
        <a:p>
          <a:endParaRPr lang="en-US"/>
        </a:p>
      </dgm:t>
    </dgm:pt>
    <dgm:pt modelId="{7BE51411-BB8D-4337-AA96-4CA7301C1CE2}" type="sibTrans" cxnId="{7D2C212F-BAD1-44AD-BD6F-44C95EDE969B}">
      <dgm:prSet/>
      <dgm:spPr/>
      <dgm:t>
        <a:bodyPr/>
        <a:lstStyle/>
        <a:p>
          <a:endParaRPr lang="en-US"/>
        </a:p>
      </dgm:t>
    </dgm:pt>
    <dgm:pt modelId="{975043C3-EDD8-4FF7-AA42-8C5A3F86F274}">
      <dgm:prSet/>
      <dgm:spPr/>
      <dgm:t>
        <a:bodyPr/>
        <a:lstStyle/>
        <a:p>
          <a:r>
            <a:rPr lang="en-IN" i="1"/>
            <a:t>Example:</a:t>
          </a:r>
          <a:r>
            <a:rPr lang="en-IN"/>
            <a:t> Virtual crash tests for bumper design validation</a:t>
          </a:r>
          <a:endParaRPr lang="en-US"/>
        </a:p>
      </dgm:t>
    </dgm:pt>
    <dgm:pt modelId="{5C43CD21-80B0-442C-90C2-F8456972940F}" type="parTrans" cxnId="{15F8B2B9-CE83-4751-B135-8E9135474C2A}">
      <dgm:prSet/>
      <dgm:spPr/>
      <dgm:t>
        <a:bodyPr/>
        <a:lstStyle/>
        <a:p>
          <a:endParaRPr lang="en-US"/>
        </a:p>
      </dgm:t>
    </dgm:pt>
    <dgm:pt modelId="{06BB1F61-77DF-4D6E-9CC5-C0D79817C9DD}" type="sibTrans" cxnId="{15F8B2B9-CE83-4751-B135-8E9135474C2A}">
      <dgm:prSet/>
      <dgm:spPr/>
      <dgm:t>
        <a:bodyPr/>
        <a:lstStyle/>
        <a:p>
          <a:endParaRPr lang="en-US"/>
        </a:p>
      </dgm:t>
    </dgm:pt>
    <dgm:pt modelId="{973379A1-79C7-4426-9422-A64147365297}" type="pres">
      <dgm:prSet presAssocID="{BA3E9EA5-C3A8-4146-8532-C27A4AE61B30}" presName="linear" presStyleCnt="0">
        <dgm:presLayoutVars>
          <dgm:animLvl val="lvl"/>
          <dgm:resizeHandles val="exact"/>
        </dgm:presLayoutVars>
      </dgm:prSet>
      <dgm:spPr/>
    </dgm:pt>
    <dgm:pt modelId="{62F5D50F-C5DB-459E-8639-8C87B615B7E9}" type="pres">
      <dgm:prSet presAssocID="{95ECCF00-7513-44C8-B398-ABF704288D73}" presName="parentText" presStyleLbl="node1" presStyleIdx="0" presStyleCnt="3" custScaleX="30685" custScaleY="38729">
        <dgm:presLayoutVars>
          <dgm:chMax val="0"/>
          <dgm:bulletEnabled val="1"/>
        </dgm:presLayoutVars>
      </dgm:prSet>
      <dgm:spPr/>
    </dgm:pt>
    <dgm:pt modelId="{6A387322-3AA7-478F-B358-405BB662794F}" type="pres">
      <dgm:prSet presAssocID="{5F0CAAC0-78EB-4FCC-8649-F508792E655D}" presName="spacer" presStyleCnt="0"/>
      <dgm:spPr/>
    </dgm:pt>
    <dgm:pt modelId="{1E6C121E-71A9-48E7-90C9-AA1018D15B7E}" type="pres">
      <dgm:prSet presAssocID="{71992375-8CBF-456D-8F56-D5B8DB752498}" presName="parentText" presStyleLbl="node1" presStyleIdx="1" presStyleCnt="3" custScaleX="39843" custScaleY="38157">
        <dgm:presLayoutVars>
          <dgm:chMax val="0"/>
          <dgm:bulletEnabled val="1"/>
        </dgm:presLayoutVars>
      </dgm:prSet>
      <dgm:spPr/>
    </dgm:pt>
    <dgm:pt modelId="{7E845F13-EA1A-4751-AF75-A860ED34A46E}" type="pres">
      <dgm:prSet presAssocID="{7BE51411-BB8D-4337-AA96-4CA7301C1CE2}" presName="spacer" presStyleCnt="0"/>
      <dgm:spPr/>
    </dgm:pt>
    <dgm:pt modelId="{EE8E5EE3-CAE3-4190-BB00-B1495F28FEDB}" type="pres">
      <dgm:prSet presAssocID="{975043C3-EDD8-4FF7-AA42-8C5A3F86F274}" presName="parentText" presStyleLbl="node1" presStyleIdx="2" presStyleCnt="3" custScaleX="50309" custScaleY="50899">
        <dgm:presLayoutVars>
          <dgm:chMax val="0"/>
          <dgm:bulletEnabled val="1"/>
        </dgm:presLayoutVars>
      </dgm:prSet>
      <dgm:spPr/>
    </dgm:pt>
  </dgm:ptLst>
  <dgm:cxnLst>
    <dgm:cxn modelId="{B512B92D-2115-43D0-B85D-18E2EAF3AB7B}" type="presOf" srcId="{71992375-8CBF-456D-8F56-D5B8DB752498}" destId="{1E6C121E-71A9-48E7-90C9-AA1018D15B7E}" srcOrd="0" destOrd="0" presId="urn:microsoft.com/office/officeart/2005/8/layout/vList2"/>
    <dgm:cxn modelId="{7D2C212F-BAD1-44AD-BD6F-44C95EDE969B}" srcId="{BA3E9EA5-C3A8-4146-8532-C27A4AE61B30}" destId="{71992375-8CBF-456D-8F56-D5B8DB752498}" srcOrd="1" destOrd="0" parTransId="{D20A0C55-9C13-498A-BE73-73ADECAF0A3A}" sibTransId="{7BE51411-BB8D-4337-AA96-4CA7301C1CE2}"/>
    <dgm:cxn modelId="{F9A2F265-D8CC-4D48-9878-8B1BCEEF41E5}" type="presOf" srcId="{975043C3-EDD8-4FF7-AA42-8C5A3F86F274}" destId="{EE8E5EE3-CAE3-4190-BB00-B1495F28FEDB}" srcOrd="0" destOrd="0" presId="urn:microsoft.com/office/officeart/2005/8/layout/vList2"/>
    <dgm:cxn modelId="{DF7F7687-7D27-4E58-965B-FED4A90C67F4}" type="presOf" srcId="{BA3E9EA5-C3A8-4146-8532-C27A4AE61B30}" destId="{973379A1-79C7-4426-9422-A64147365297}" srcOrd="0" destOrd="0" presId="urn:microsoft.com/office/officeart/2005/8/layout/vList2"/>
    <dgm:cxn modelId="{15F8B2B9-CE83-4751-B135-8E9135474C2A}" srcId="{BA3E9EA5-C3A8-4146-8532-C27A4AE61B30}" destId="{975043C3-EDD8-4FF7-AA42-8C5A3F86F274}" srcOrd="2" destOrd="0" parTransId="{5C43CD21-80B0-442C-90C2-F8456972940F}" sibTransId="{06BB1F61-77DF-4D6E-9CC5-C0D79817C9DD}"/>
    <dgm:cxn modelId="{88FA0FD3-C5DD-4C13-84D9-BD4385275F6F}" type="presOf" srcId="{95ECCF00-7513-44C8-B398-ABF704288D73}" destId="{62F5D50F-C5DB-459E-8639-8C87B615B7E9}" srcOrd="0" destOrd="0" presId="urn:microsoft.com/office/officeart/2005/8/layout/vList2"/>
    <dgm:cxn modelId="{41CF46E8-BC60-4C44-8D60-21D9D15BD28B}" srcId="{BA3E9EA5-C3A8-4146-8532-C27A4AE61B30}" destId="{95ECCF00-7513-44C8-B398-ABF704288D73}" srcOrd="0" destOrd="0" parTransId="{EE6DA2C5-2CED-4E41-A053-0AAA9817C3ED}" sibTransId="{5F0CAAC0-78EB-4FCC-8649-F508792E655D}"/>
    <dgm:cxn modelId="{7D8F82B7-52E7-4C8D-A99A-5B3B4BE92CA2}" type="presParOf" srcId="{973379A1-79C7-4426-9422-A64147365297}" destId="{62F5D50F-C5DB-459E-8639-8C87B615B7E9}" srcOrd="0" destOrd="0" presId="urn:microsoft.com/office/officeart/2005/8/layout/vList2"/>
    <dgm:cxn modelId="{04433DDF-490A-40E0-BFB3-2A22C091D149}" type="presParOf" srcId="{973379A1-79C7-4426-9422-A64147365297}" destId="{6A387322-3AA7-478F-B358-405BB662794F}" srcOrd="1" destOrd="0" presId="urn:microsoft.com/office/officeart/2005/8/layout/vList2"/>
    <dgm:cxn modelId="{9933FD0C-E7D0-4079-8E4F-B6D6F0FD4CDB}" type="presParOf" srcId="{973379A1-79C7-4426-9422-A64147365297}" destId="{1E6C121E-71A9-48E7-90C9-AA1018D15B7E}" srcOrd="2" destOrd="0" presId="urn:microsoft.com/office/officeart/2005/8/layout/vList2"/>
    <dgm:cxn modelId="{6255DEEA-F22B-42FC-922A-2ECF29E41670}" type="presParOf" srcId="{973379A1-79C7-4426-9422-A64147365297}" destId="{7E845F13-EA1A-4751-AF75-A860ED34A46E}" srcOrd="3" destOrd="0" presId="urn:microsoft.com/office/officeart/2005/8/layout/vList2"/>
    <dgm:cxn modelId="{6189B059-5546-4493-BA15-2AE27B28B65B}" type="presParOf" srcId="{973379A1-79C7-4426-9422-A64147365297}" destId="{EE8E5EE3-CAE3-4190-BB00-B1495F28FEDB}" srcOrd="4" destOrd="0" presId="urn:microsoft.com/office/officeart/2005/8/layout/vList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DC6C155-0DA6-4184-8FFA-199B112E2E4A}"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US"/>
        </a:p>
      </dgm:t>
    </dgm:pt>
    <dgm:pt modelId="{6DFC528A-93F8-464B-BF99-81FCDA970D4F}">
      <dgm:prSet/>
      <dgm:spPr/>
      <dgm:t>
        <a:bodyPr/>
        <a:lstStyle/>
        <a:p>
          <a:r>
            <a:rPr lang="en-US" dirty="0"/>
            <a:t>Digital twins of production lines to analyze workflow and reduce downtime</a:t>
          </a:r>
        </a:p>
      </dgm:t>
    </dgm:pt>
    <dgm:pt modelId="{EC29EED7-ED34-48AA-BE39-3DB8B23C038F}" type="parTrans" cxnId="{4F5D1B79-AE33-4685-B220-F79F187EC558}">
      <dgm:prSet/>
      <dgm:spPr/>
      <dgm:t>
        <a:bodyPr/>
        <a:lstStyle/>
        <a:p>
          <a:endParaRPr lang="en-US"/>
        </a:p>
      </dgm:t>
    </dgm:pt>
    <dgm:pt modelId="{11A88248-758F-4133-B91E-07CC935818D9}" type="sibTrans" cxnId="{4F5D1B79-AE33-4685-B220-F79F187EC558}">
      <dgm:prSet/>
      <dgm:spPr/>
      <dgm:t>
        <a:bodyPr/>
        <a:lstStyle/>
        <a:p>
          <a:endParaRPr lang="en-US"/>
        </a:p>
      </dgm:t>
    </dgm:pt>
    <dgm:pt modelId="{3BE8C282-A820-403D-82FF-0B6B6789A88C}">
      <dgm:prSet/>
      <dgm:spPr/>
      <dgm:t>
        <a:bodyPr/>
        <a:lstStyle/>
        <a:p>
          <a:r>
            <a:rPr lang="en-US" dirty="0"/>
            <a:t>Identify bottlenecks and simulate improvements</a:t>
          </a:r>
        </a:p>
      </dgm:t>
    </dgm:pt>
    <dgm:pt modelId="{0845CA14-A0F7-4ED7-8FBC-BF077192FD24}" type="parTrans" cxnId="{84B6971E-BFE6-481B-88B9-9D4C572B612D}">
      <dgm:prSet/>
      <dgm:spPr/>
      <dgm:t>
        <a:bodyPr/>
        <a:lstStyle/>
        <a:p>
          <a:endParaRPr lang="en-US"/>
        </a:p>
      </dgm:t>
    </dgm:pt>
    <dgm:pt modelId="{310B385A-2300-4A70-B36B-0E820B90FEF9}" type="sibTrans" cxnId="{84B6971E-BFE6-481B-88B9-9D4C572B612D}">
      <dgm:prSet/>
      <dgm:spPr/>
      <dgm:t>
        <a:bodyPr/>
        <a:lstStyle/>
        <a:p>
          <a:endParaRPr lang="en-US"/>
        </a:p>
      </dgm:t>
    </dgm:pt>
    <dgm:pt modelId="{53088980-4A04-459D-A127-8E7066496225}">
      <dgm:prSet/>
      <dgm:spPr/>
      <dgm:t>
        <a:bodyPr/>
        <a:lstStyle/>
        <a:p>
          <a:r>
            <a:rPr lang="en-US" i="1" dirty="0"/>
            <a:t>Example:</a:t>
          </a:r>
          <a:r>
            <a:rPr lang="en-US" dirty="0"/>
            <a:t> Simulating car paint booths for better coating efficiency</a:t>
          </a:r>
        </a:p>
      </dgm:t>
    </dgm:pt>
    <dgm:pt modelId="{E85F287A-165C-49C8-B110-A58DA96E5736}" type="parTrans" cxnId="{3A9700D5-B2EB-48B4-B2CD-B3C4B12D55C1}">
      <dgm:prSet/>
      <dgm:spPr/>
      <dgm:t>
        <a:bodyPr/>
        <a:lstStyle/>
        <a:p>
          <a:endParaRPr lang="en-US"/>
        </a:p>
      </dgm:t>
    </dgm:pt>
    <dgm:pt modelId="{23971691-7541-4FA7-8044-19617F8618E2}" type="sibTrans" cxnId="{3A9700D5-B2EB-48B4-B2CD-B3C4B12D55C1}">
      <dgm:prSet/>
      <dgm:spPr/>
      <dgm:t>
        <a:bodyPr/>
        <a:lstStyle/>
        <a:p>
          <a:endParaRPr lang="en-US"/>
        </a:p>
      </dgm:t>
    </dgm:pt>
    <dgm:pt modelId="{FAE2FCFE-0417-4188-BAAD-7109B869B891}" type="pres">
      <dgm:prSet presAssocID="{ADC6C155-0DA6-4184-8FFA-199B112E2E4A}" presName="linear" presStyleCnt="0">
        <dgm:presLayoutVars>
          <dgm:animLvl val="lvl"/>
          <dgm:resizeHandles val="exact"/>
        </dgm:presLayoutVars>
      </dgm:prSet>
      <dgm:spPr/>
    </dgm:pt>
    <dgm:pt modelId="{CBED201D-195C-43A5-88D4-57EA0DE78CBC}" type="pres">
      <dgm:prSet presAssocID="{6DFC528A-93F8-464B-BF99-81FCDA970D4F}" presName="parentText" presStyleLbl="node1" presStyleIdx="0" presStyleCnt="3" custScaleX="29515" custScaleY="67681" custLinFactY="-31590" custLinFactNeighborX="27129" custLinFactNeighborY="-100000">
        <dgm:presLayoutVars>
          <dgm:chMax val="0"/>
          <dgm:bulletEnabled val="1"/>
        </dgm:presLayoutVars>
      </dgm:prSet>
      <dgm:spPr/>
    </dgm:pt>
    <dgm:pt modelId="{24273508-1A03-4476-B99C-34196A737451}" type="pres">
      <dgm:prSet presAssocID="{11A88248-758F-4133-B91E-07CC935818D9}" presName="spacer" presStyleCnt="0"/>
      <dgm:spPr/>
    </dgm:pt>
    <dgm:pt modelId="{5C0D2D79-DEEF-4195-8B3B-60C6159DF8F1}" type="pres">
      <dgm:prSet presAssocID="{3BE8C282-A820-403D-82FF-0B6B6789A88C}" presName="parentText" presStyleLbl="node1" presStyleIdx="1" presStyleCnt="3" custScaleX="34748" custScaleY="51447" custLinFactY="-13472" custLinFactNeighborX="27350" custLinFactNeighborY="-100000">
        <dgm:presLayoutVars>
          <dgm:chMax val="0"/>
          <dgm:bulletEnabled val="1"/>
        </dgm:presLayoutVars>
      </dgm:prSet>
      <dgm:spPr/>
    </dgm:pt>
    <dgm:pt modelId="{DC9F2EB4-B9C8-47D8-BA51-8AE347819B09}" type="pres">
      <dgm:prSet presAssocID="{310B385A-2300-4A70-B36B-0E820B90FEF9}" presName="spacer" presStyleCnt="0"/>
      <dgm:spPr/>
    </dgm:pt>
    <dgm:pt modelId="{3AAAE442-2728-4C49-B19C-7BF7B13C7C65}" type="pres">
      <dgm:prSet presAssocID="{53088980-4A04-459D-A127-8E7066496225}" presName="parentText" presStyleLbl="node1" presStyleIdx="2" presStyleCnt="3" custScaleX="46146" custScaleY="49469" custLinFactY="-6707" custLinFactNeighborX="27061" custLinFactNeighborY="-100000">
        <dgm:presLayoutVars>
          <dgm:chMax val="0"/>
          <dgm:bulletEnabled val="1"/>
        </dgm:presLayoutVars>
      </dgm:prSet>
      <dgm:spPr/>
    </dgm:pt>
  </dgm:ptLst>
  <dgm:cxnLst>
    <dgm:cxn modelId="{84B6971E-BFE6-481B-88B9-9D4C572B612D}" srcId="{ADC6C155-0DA6-4184-8FFA-199B112E2E4A}" destId="{3BE8C282-A820-403D-82FF-0B6B6789A88C}" srcOrd="1" destOrd="0" parTransId="{0845CA14-A0F7-4ED7-8FBC-BF077192FD24}" sibTransId="{310B385A-2300-4A70-B36B-0E820B90FEF9}"/>
    <dgm:cxn modelId="{4F5D1B79-AE33-4685-B220-F79F187EC558}" srcId="{ADC6C155-0DA6-4184-8FFA-199B112E2E4A}" destId="{6DFC528A-93F8-464B-BF99-81FCDA970D4F}" srcOrd="0" destOrd="0" parTransId="{EC29EED7-ED34-48AA-BE39-3DB8B23C038F}" sibTransId="{11A88248-758F-4133-B91E-07CC935818D9}"/>
    <dgm:cxn modelId="{FA38D15A-8BCC-4582-834C-F61FBC66163B}" type="presOf" srcId="{ADC6C155-0DA6-4184-8FFA-199B112E2E4A}" destId="{FAE2FCFE-0417-4188-BAAD-7109B869B891}" srcOrd="0" destOrd="0" presId="urn:microsoft.com/office/officeart/2005/8/layout/vList2"/>
    <dgm:cxn modelId="{29496A99-6B46-4F79-9294-DD1D0DF9C97E}" type="presOf" srcId="{6DFC528A-93F8-464B-BF99-81FCDA970D4F}" destId="{CBED201D-195C-43A5-88D4-57EA0DE78CBC}" srcOrd="0" destOrd="0" presId="urn:microsoft.com/office/officeart/2005/8/layout/vList2"/>
    <dgm:cxn modelId="{D55CEFC2-0018-4DA6-82E7-AF195DA15C38}" type="presOf" srcId="{53088980-4A04-459D-A127-8E7066496225}" destId="{3AAAE442-2728-4C49-B19C-7BF7B13C7C65}" srcOrd="0" destOrd="0" presId="urn:microsoft.com/office/officeart/2005/8/layout/vList2"/>
    <dgm:cxn modelId="{3A9700D5-B2EB-48B4-B2CD-B3C4B12D55C1}" srcId="{ADC6C155-0DA6-4184-8FFA-199B112E2E4A}" destId="{53088980-4A04-459D-A127-8E7066496225}" srcOrd="2" destOrd="0" parTransId="{E85F287A-165C-49C8-B110-A58DA96E5736}" sibTransId="{23971691-7541-4FA7-8044-19617F8618E2}"/>
    <dgm:cxn modelId="{1C26B8EB-68C2-426F-9B63-69AE570E84E5}" type="presOf" srcId="{3BE8C282-A820-403D-82FF-0B6B6789A88C}" destId="{5C0D2D79-DEEF-4195-8B3B-60C6159DF8F1}" srcOrd="0" destOrd="0" presId="urn:microsoft.com/office/officeart/2005/8/layout/vList2"/>
    <dgm:cxn modelId="{00525DE1-E68B-408B-886C-2CF6234B6AB3}" type="presParOf" srcId="{FAE2FCFE-0417-4188-BAAD-7109B869B891}" destId="{CBED201D-195C-43A5-88D4-57EA0DE78CBC}" srcOrd="0" destOrd="0" presId="urn:microsoft.com/office/officeart/2005/8/layout/vList2"/>
    <dgm:cxn modelId="{B3BB2E97-CF60-43D8-8254-74C9AF21906F}" type="presParOf" srcId="{FAE2FCFE-0417-4188-BAAD-7109B869B891}" destId="{24273508-1A03-4476-B99C-34196A737451}" srcOrd="1" destOrd="0" presId="urn:microsoft.com/office/officeart/2005/8/layout/vList2"/>
    <dgm:cxn modelId="{503AE7AA-3F48-4501-A0CE-42A7D785D0EB}" type="presParOf" srcId="{FAE2FCFE-0417-4188-BAAD-7109B869B891}" destId="{5C0D2D79-DEEF-4195-8B3B-60C6159DF8F1}" srcOrd="2" destOrd="0" presId="urn:microsoft.com/office/officeart/2005/8/layout/vList2"/>
    <dgm:cxn modelId="{7FDA0595-563E-4E16-B979-3AC1B90A8EE1}" type="presParOf" srcId="{FAE2FCFE-0417-4188-BAAD-7109B869B891}" destId="{DC9F2EB4-B9C8-47D8-BA51-8AE347819B09}" srcOrd="3" destOrd="0" presId="urn:microsoft.com/office/officeart/2005/8/layout/vList2"/>
    <dgm:cxn modelId="{CD9F7F44-56D8-43D0-9C24-952D017E827B}" type="presParOf" srcId="{FAE2FCFE-0417-4188-BAAD-7109B869B891}" destId="{3AAAE442-2728-4C49-B19C-7BF7B13C7C65}"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9E4DB56-81B6-4775-9309-AE250D494BD1}" type="doc">
      <dgm:prSet loTypeId="urn:microsoft.com/office/officeart/2005/8/layout/vList5" loCatId="list" qsTypeId="urn:microsoft.com/office/officeart/2005/8/quickstyle/simple1" qsCatId="simple" csTypeId="urn:microsoft.com/office/officeart/2005/8/colors/accent1_2" csCatId="accent1"/>
      <dgm:spPr/>
      <dgm:t>
        <a:bodyPr/>
        <a:lstStyle/>
        <a:p>
          <a:endParaRPr lang="en-US"/>
        </a:p>
      </dgm:t>
    </dgm:pt>
    <dgm:pt modelId="{6914D104-2498-4AC9-9B02-CCB82ED08D72}">
      <dgm:prSet/>
      <dgm:spPr/>
      <dgm:t>
        <a:bodyPr/>
        <a:lstStyle/>
        <a:p>
          <a:r>
            <a:rPr lang="en-US" dirty="0"/>
            <a:t>Integrate with </a:t>
          </a:r>
          <a:r>
            <a:rPr lang="en-US" dirty="0" err="1"/>
            <a:t>HiL</a:t>
          </a:r>
          <a:r>
            <a:rPr lang="en-US" dirty="0"/>
            <a:t> and </a:t>
          </a:r>
          <a:r>
            <a:rPr lang="en-US" dirty="0" err="1"/>
            <a:t>SiL</a:t>
          </a:r>
          <a:r>
            <a:rPr lang="en-US" dirty="0"/>
            <a:t> systems for early-stage validation</a:t>
          </a:r>
        </a:p>
      </dgm:t>
    </dgm:pt>
    <dgm:pt modelId="{EBE03E4F-1F79-4E15-BDAF-EBE0F29FB2C5}" type="parTrans" cxnId="{54529045-81CA-426B-ACC8-266B89E30D30}">
      <dgm:prSet/>
      <dgm:spPr/>
      <dgm:t>
        <a:bodyPr/>
        <a:lstStyle/>
        <a:p>
          <a:endParaRPr lang="en-US"/>
        </a:p>
      </dgm:t>
    </dgm:pt>
    <dgm:pt modelId="{0444FCD0-C223-4D7C-A6BF-ACE618BD37A9}" type="sibTrans" cxnId="{54529045-81CA-426B-ACC8-266B89E30D30}">
      <dgm:prSet/>
      <dgm:spPr/>
      <dgm:t>
        <a:bodyPr/>
        <a:lstStyle/>
        <a:p>
          <a:endParaRPr lang="en-US"/>
        </a:p>
      </dgm:t>
    </dgm:pt>
    <dgm:pt modelId="{F6211AE8-EDDD-4908-94B1-7CFD11DD85CE}">
      <dgm:prSet/>
      <dgm:spPr/>
      <dgm:t>
        <a:bodyPr/>
        <a:lstStyle/>
        <a:p>
          <a:r>
            <a:rPr lang="en-US" dirty="0"/>
            <a:t>Test control systems, fuel efficiency, and emissions in a virtual environment</a:t>
          </a:r>
        </a:p>
      </dgm:t>
    </dgm:pt>
    <dgm:pt modelId="{36FCF3BE-225A-4018-9D6D-D5A48F1E1ECA}" type="parTrans" cxnId="{AAC94F2A-BC06-42EB-8C12-658B7944683A}">
      <dgm:prSet/>
      <dgm:spPr/>
      <dgm:t>
        <a:bodyPr/>
        <a:lstStyle/>
        <a:p>
          <a:endParaRPr lang="en-US"/>
        </a:p>
      </dgm:t>
    </dgm:pt>
    <dgm:pt modelId="{D1B05A4C-4980-44F6-AD01-19E8DEAC70B4}" type="sibTrans" cxnId="{AAC94F2A-BC06-42EB-8C12-658B7944683A}">
      <dgm:prSet/>
      <dgm:spPr/>
      <dgm:t>
        <a:bodyPr/>
        <a:lstStyle/>
        <a:p>
          <a:endParaRPr lang="en-US"/>
        </a:p>
      </dgm:t>
    </dgm:pt>
    <dgm:pt modelId="{EC72DB93-3F71-45F3-AC1C-18508AEFB6B4}">
      <dgm:prSet/>
      <dgm:spPr/>
      <dgm:t>
        <a:bodyPr/>
        <a:lstStyle/>
        <a:p>
          <a:r>
            <a:rPr lang="en-US" i="1" dirty="0"/>
            <a:t>Example:</a:t>
          </a:r>
          <a:r>
            <a:rPr lang="en-US" dirty="0"/>
            <a:t> ECU calibration using digital twin for BS6 compliance</a:t>
          </a:r>
        </a:p>
      </dgm:t>
    </dgm:pt>
    <dgm:pt modelId="{8992BC24-7131-4CCC-A23F-EA67335CB810}" type="parTrans" cxnId="{003FD0F0-A448-4149-9EA6-83BA297A91F6}">
      <dgm:prSet/>
      <dgm:spPr/>
      <dgm:t>
        <a:bodyPr/>
        <a:lstStyle/>
        <a:p>
          <a:endParaRPr lang="en-US"/>
        </a:p>
      </dgm:t>
    </dgm:pt>
    <dgm:pt modelId="{7A4BE810-7911-48AF-BCF2-273B703087C1}" type="sibTrans" cxnId="{003FD0F0-A448-4149-9EA6-83BA297A91F6}">
      <dgm:prSet/>
      <dgm:spPr/>
      <dgm:t>
        <a:bodyPr/>
        <a:lstStyle/>
        <a:p>
          <a:endParaRPr lang="en-US"/>
        </a:p>
      </dgm:t>
    </dgm:pt>
    <dgm:pt modelId="{E296A0C8-9568-41DC-A1C7-906D830783C5}" type="pres">
      <dgm:prSet presAssocID="{D9E4DB56-81B6-4775-9309-AE250D494BD1}" presName="Name0" presStyleCnt="0">
        <dgm:presLayoutVars>
          <dgm:dir/>
          <dgm:animLvl val="lvl"/>
          <dgm:resizeHandles val="exact"/>
        </dgm:presLayoutVars>
      </dgm:prSet>
      <dgm:spPr/>
    </dgm:pt>
    <dgm:pt modelId="{B237EB6B-E3B6-45FC-8333-ADFD767022BE}" type="pres">
      <dgm:prSet presAssocID="{6914D104-2498-4AC9-9B02-CCB82ED08D72}" presName="linNode" presStyleCnt="0"/>
      <dgm:spPr/>
    </dgm:pt>
    <dgm:pt modelId="{AC27B2F1-78BE-4BA1-BEE7-49FC1A9610E7}" type="pres">
      <dgm:prSet presAssocID="{6914D104-2498-4AC9-9B02-CCB82ED08D72}" presName="parentText" presStyleLbl="node1" presStyleIdx="0" presStyleCnt="3" custLinFactX="111489" custLinFactNeighborX="200000" custLinFactNeighborY="1628">
        <dgm:presLayoutVars>
          <dgm:chMax val="1"/>
          <dgm:bulletEnabled val="1"/>
        </dgm:presLayoutVars>
      </dgm:prSet>
      <dgm:spPr/>
    </dgm:pt>
    <dgm:pt modelId="{EBAE0823-36A7-4FC6-A0A0-A62DECF96433}" type="pres">
      <dgm:prSet presAssocID="{0444FCD0-C223-4D7C-A6BF-ACE618BD37A9}" presName="sp" presStyleCnt="0"/>
      <dgm:spPr/>
    </dgm:pt>
    <dgm:pt modelId="{7BBD81F4-8C98-4A70-9A8D-3A1C3FD84596}" type="pres">
      <dgm:prSet presAssocID="{F6211AE8-EDDD-4908-94B1-7CFD11DD85CE}" presName="linNode" presStyleCnt="0"/>
      <dgm:spPr/>
    </dgm:pt>
    <dgm:pt modelId="{0392BBB1-129D-419E-87E0-D399F0DA11F1}" type="pres">
      <dgm:prSet presAssocID="{F6211AE8-EDDD-4908-94B1-7CFD11DD85CE}" presName="parentText" presStyleLbl="node1" presStyleIdx="1" presStyleCnt="3" custLinFactNeighborX="-38055" custLinFactNeighborY="9063">
        <dgm:presLayoutVars>
          <dgm:chMax val="1"/>
          <dgm:bulletEnabled val="1"/>
        </dgm:presLayoutVars>
      </dgm:prSet>
      <dgm:spPr/>
    </dgm:pt>
    <dgm:pt modelId="{05FAD8F5-3262-419C-8AAD-B540ABD7E148}" type="pres">
      <dgm:prSet presAssocID="{D1B05A4C-4980-44F6-AD01-19E8DEAC70B4}" presName="sp" presStyleCnt="0"/>
      <dgm:spPr/>
    </dgm:pt>
    <dgm:pt modelId="{E1675A53-A89F-4BF4-AA8E-3CFAE381E0B4}" type="pres">
      <dgm:prSet presAssocID="{EC72DB93-3F71-45F3-AC1C-18508AEFB6B4}" presName="linNode" presStyleCnt="0"/>
      <dgm:spPr/>
    </dgm:pt>
    <dgm:pt modelId="{1053EF55-EC72-43E0-9422-15BF3FE9900E}" type="pres">
      <dgm:prSet presAssocID="{EC72DB93-3F71-45F3-AC1C-18508AEFB6B4}" presName="parentText" presStyleLbl="node1" presStyleIdx="2" presStyleCnt="3" custLinFactNeighborX="87536" custLinFactNeighborY="38658">
        <dgm:presLayoutVars>
          <dgm:chMax val="1"/>
          <dgm:bulletEnabled val="1"/>
        </dgm:presLayoutVars>
      </dgm:prSet>
      <dgm:spPr/>
    </dgm:pt>
  </dgm:ptLst>
  <dgm:cxnLst>
    <dgm:cxn modelId="{A34CAF09-61B9-4910-B64C-40A645CEDA48}" type="presOf" srcId="{6914D104-2498-4AC9-9B02-CCB82ED08D72}" destId="{AC27B2F1-78BE-4BA1-BEE7-49FC1A9610E7}" srcOrd="0" destOrd="0" presId="urn:microsoft.com/office/officeart/2005/8/layout/vList5"/>
    <dgm:cxn modelId="{AF5D3A25-647E-4E23-8BAA-BC3A0FD6EB70}" type="presOf" srcId="{F6211AE8-EDDD-4908-94B1-7CFD11DD85CE}" destId="{0392BBB1-129D-419E-87E0-D399F0DA11F1}" srcOrd="0" destOrd="0" presId="urn:microsoft.com/office/officeart/2005/8/layout/vList5"/>
    <dgm:cxn modelId="{AAC94F2A-BC06-42EB-8C12-658B7944683A}" srcId="{D9E4DB56-81B6-4775-9309-AE250D494BD1}" destId="{F6211AE8-EDDD-4908-94B1-7CFD11DD85CE}" srcOrd="1" destOrd="0" parTransId="{36FCF3BE-225A-4018-9D6D-D5A48F1E1ECA}" sibTransId="{D1B05A4C-4980-44F6-AD01-19E8DEAC70B4}"/>
    <dgm:cxn modelId="{54529045-81CA-426B-ACC8-266B89E30D30}" srcId="{D9E4DB56-81B6-4775-9309-AE250D494BD1}" destId="{6914D104-2498-4AC9-9B02-CCB82ED08D72}" srcOrd="0" destOrd="0" parTransId="{EBE03E4F-1F79-4E15-BDAF-EBE0F29FB2C5}" sibTransId="{0444FCD0-C223-4D7C-A6BF-ACE618BD37A9}"/>
    <dgm:cxn modelId="{0D468D84-0CFE-4416-AF1E-440708227482}" type="presOf" srcId="{EC72DB93-3F71-45F3-AC1C-18508AEFB6B4}" destId="{1053EF55-EC72-43E0-9422-15BF3FE9900E}" srcOrd="0" destOrd="0" presId="urn:microsoft.com/office/officeart/2005/8/layout/vList5"/>
    <dgm:cxn modelId="{64D7CAD2-7432-427C-9595-D33BA1433128}" type="presOf" srcId="{D9E4DB56-81B6-4775-9309-AE250D494BD1}" destId="{E296A0C8-9568-41DC-A1C7-906D830783C5}" srcOrd="0" destOrd="0" presId="urn:microsoft.com/office/officeart/2005/8/layout/vList5"/>
    <dgm:cxn modelId="{003FD0F0-A448-4149-9EA6-83BA297A91F6}" srcId="{D9E4DB56-81B6-4775-9309-AE250D494BD1}" destId="{EC72DB93-3F71-45F3-AC1C-18508AEFB6B4}" srcOrd="2" destOrd="0" parTransId="{8992BC24-7131-4CCC-A23F-EA67335CB810}" sibTransId="{7A4BE810-7911-48AF-BCF2-273B703087C1}"/>
    <dgm:cxn modelId="{8BCEBB45-3C9C-4EEF-8297-B39EF16DB3B3}" type="presParOf" srcId="{E296A0C8-9568-41DC-A1C7-906D830783C5}" destId="{B237EB6B-E3B6-45FC-8333-ADFD767022BE}" srcOrd="0" destOrd="0" presId="urn:microsoft.com/office/officeart/2005/8/layout/vList5"/>
    <dgm:cxn modelId="{DAFAB34B-3ABC-4308-ADF8-A1B7E645D87B}" type="presParOf" srcId="{B237EB6B-E3B6-45FC-8333-ADFD767022BE}" destId="{AC27B2F1-78BE-4BA1-BEE7-49FC1A9610E7}" srcOrd="0" destOrd="0" presId="urn:microsoft.com/office/officeart/2005/8/layout/vList5"/>
    <dgm:cxn modelId="{2056CE87-51BD-48EC-8C42-B1882DD78B10}" type="presParOf" srcId="{E296A0C8-9568-41DC-A1C7-906D830783C5}" destId="{EBAE0823-36A7-4FC6-A0A0-A62DECF96433}" srcOrd="1" destOrd="0" presId="urn:microsoft.com/office/officeart/2005/8/layout/vList5"/>
    <dgm:cxn modelId="{C30D8669-EDE7-492E-805F-1338007972D0}" type="presParOf" srcId="{E296A0C8-9568-41DC-A1C7-906D830783C5}" destId="{7BBD81F4-8C98-4A70-9A8D-3A1C3FD84596}" srcOrd="2" destOrd="0" presId="urn:microsoft.com/office/officeart/2005/8/layout/vList5"/>
    <dgm:cxn modelId="{E97171B1-2A1A-41CC-9FA0-201AAD9EBD39}" type="presParOf" srcId="{7BBD81F4-8C98-4A70-9A8D-3A1C3FD84596}" destId="{0392BBB1-129D-419E-87E0-D399F0DA11F1}" srcOrd="0" destOrd="0" presId="urn:microsoft.com/office/officeart/2005/8/layout/vList5"/>
    <dgm:cxn modelId="{0D2C2BCA-BEF8-4226-AB05-BDC30C66CE63}" type="presParOf" srcId="{E296A0C8-9568-41DC-A1C7-906D830783C5}" destId="{05FAD8F5-3262-419C-8AAD-B540ABD7E148}" srcOrd="3" destOrd="0" presId="urn:microsoft.com/office/officeart/2005/8/layout/vList5"/>
    <dgm:cxn modelId="{2A62816C-6E41-4569-A9F5-A242A530C4F2}" type="presParOf" srcId="{E296A0C8-9568-41DC-A1C7-906D830783C5}" destId="{E1675A53-A89F-4BF4-AA8E-3CFAE381E0B4}" srcOrd="4" destOrd="0" presId="urn:microsoft.com/office/officeart/2005/8/layout/vList5"/>
    <dgm:cxn modelId="{8A30B75E-2836-48C4-B498-E0115BE8446B}" type="presParOf" srcId="{E1675A53-A89F-4BF4-AA8E-3CFAE381E0B4}" destId="{1053EF55-EC72-43E0-9422-15BF3FE9900E}"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6698E6-408D-4FC2-B7C2-4BD3410F640B}"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325575CE-0AD4-4E34-9FC1-BBCF1528B73C}">
      <dgm:prSet/>
      <dgm:spPr/>
      <dgm:t>
        <a:bodyPr/>
        <a:lstStyle/>
        <a:p>
          <a:r>
            <a:rPr lang="en-US"/>
            <a:t>Monitor real-time health of components</a:t>
          </a:r>
        </a:p>
      </dgm:t>
    </dgm:pt>
    <dgm:pt modelId="{27A317EB-A5F4-4877-BEFF-F7D2E33C95ED}" type="parTrans" cxnId="{F400CBD2-B115-490E-A06A-7A90EA956225}">
      <dgm:prSet/>
      <dgm:spPr/>
      <dgm:t>
        <a:bodyPr/>
        <a:lstStyle/>
        <a:p>
          <a:endParaRPr lang="en-US"/>
        </a:p>
      </dgm:t>
    </dgm:pt>
    <dgm:pt modelId="{59D2B1BC-587F-41C2-9FA2-E9F068FF3A4B}" type="sibTrans" cxnId="{F400CBD2-B115-490E-A06A-7A90EA956225}">
      <dgm:prSet/>
      <dgm:spPr/>
      <dgm:t>
        <a:bodyPr/>
        <a:lstStyle/>
        <a:p>
          <a:endParaRPr lang="en-US"/>
        </a:p>
      </dgm:t>
    </dgm:pt>
    <dgm:pt modelId="{CFEDE839-0EEE-4E43-A0D2-CFDF1D932BFA}">
      <dgm:prSet/>
      <dgm:spPr/>
      <dgm:t>
        <a:bodyPr/>
        <a:lstStyle/>
        <a:p>
          <a:r>
            <a:rPr lang="en-US"/>
            <a:t>Predict failures and schedule proactive maintenance</a:t>
          </a:r>
        </a:p>
      </dgm:t>
    </dgm:pt>
    <dgm:pt modelId="{E8C4B266-3C4D-4599-9095-2B02E17EA2A4}" type="parTrans" cxnId="{3CE1933F-9647-4A75-9FA3-F2CFEE6B5C3E}">
      <dgm:prSet/>
      <dgm:spPr/>
      <dgm:t>
        <a:bodyPr/>
        <a:lstStyle/>
        <a:p>
          <a:endParaRPr lang="en-US"/>
        </a:p>
      </dgm:t>
    </dgm:pt>
    <dgm:pt modelId="{788F4AD3-0B84-480E-A8B9-87B13C251F4A}" type="sibTrans" cxnId="{3CE1933F-9647-4A75-9FA3-F2CFEE6B5C3E}">
      <dgm:prSet/>
      <dgm:spPr/>
      <dgm:t>
        <a:bodyPr/>
        <a:lstStyle/>
        <a:p>
          <a:endParaRPr lang="en-US"/>
        </a:p>
      </dgm:t>
    </dgm:pt>
    <dgm:pt modelId="{6EA84961-4B34-4D0E-B78A-D20E8A07F35E}">
      <dgm:prSet/>
      <dgm:spPr/>
      <dgm:t>
        <a:bodyPr/>
        <a:lstStyle/>
        <a:p>
          <a:r>
            <a:rPr lang="en-US" i="1" dirty="0"/>
            <a:t>Example:</a:t>
          </a:r>
          <a:r>
            <a:rPr lang="en-US" dirty="0"/>
            <a:t> Forecasting battery degradation in electric vehicles</a:t>
          </a:r>
        </a:p>
      </dgm:t>
    </dgm:pt>
    <dgm:pt modelId="{16E943E6-803A-4B87-A99C-18B0BE63278B}" type="parTrans" cxnId="{6175D2C0-6CC8-439B-8325-31D1AC94765F}">
      <dgm:prSet/>
      <dgm:spPr/>
      <dgm:t>
        <a:bodyPr/>
        <a:lstStyle/>
        <a:p>
          <a:endParaRPr lang="en-US"/>
        </a:p>
      </dgm:t>
    </dgm:pt>
    <dgm:pt modelId="{0F3F36EA-8DC8-4F9A-A3DB-4B493C163BF8}" type="sibTrans" cxnId="{6175D2C0-6CC8-439B-8325-31D1AC94765F}">
      <dgm:prSet/>
      <dgm:spPr/>
      <dgm:t>
        <a:bodyPr/>
        <a:lstStyle/>
        <a:p>
          <a:endParaRPr lang="en-US"/>
        </a:p>
      </dgm:t>
    </dgm:pt>
    <dgm:pt modelId="{D29EE383-502C-4465-931E-A15765B9C138}" type="pres">
      <dgm:prSet presAssocID="{C86698E6-408D-4FC2-B7C2-4BD3410F640B}" presName="root" presStyleCnt="0">
        <dgm:presLayoutVars>
          <dgm:dir/>
          <dgm:resizeHandles val="exact"/>
        </dgm:presLayoutVars>
      </dgm:prSet>
      <dgm:spPr/>
    </dgm:pt>
    <dgm:pt modelId="{EE108F94-464D-48AE-8E03-2C44C53CC1D2}" type="pres">
      <dgm:prSet presAssocID="{325575CE-0AD4-4E34-9FC1-BBCF1528B73C}" presName="compNode" presStyleCnt="0"/>
      <dgm:spPr/>
    </dgm:pt>
    <dgm:pt modelId="{E55A5D67-1CDE-4FF2-A533-D589F7C3B96D}" type="pres">
      <dgm:prSet presAssocID="{325575CE-0AD4-4E34-9FC1-BBCF1528B73C}"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opwatch"/>
        </a:ext>
      </dgm:extLst>
    </dgm:pt>
    <dgm:pt modelId="{1848CED2-A210-42EB-8B1E-5E5587412EB3}" type="pres">
      <dgm:prSet presAssocID="{325575CE-0AD4-4E34-9FC1-BBCF1528B73C}" presName="spaceRect" presStyleCnt="0"/>
      <dgm:spPr/>
    </dgm:pt>
    <dgm:pt modelId="{FC815E32-C1E1-45C8-8940-8565F88C509B}" type="pres">
      <dgm:prSet presAssocID="{325575CE-0AD4-4E34-9FC1-BBCF1528B73C}" presName="textRect" presStyleLbl="revTx" presStyleIdx="0" presStyleCnt="3">
        <dgm:presLayoutVars>
          <dgm:chMax val="1"/>
          <dgm:chPref val="1"/>
        </dgm:presLayoutVars>
      </dgm:prSet>
      <dgm:spPr/>
    </dgm:pt>
    <dgm:pt modelId="{235605DF-9CC8-4C05-A8C5-65A071E6E9EB}" type="pres">
      <dgm:prSet presAssocID="{59D2B1BC-587F-41C2-9FA2-E9F068FF3A4B}" presName="sibTrans" presStyleCnt="0"/>
      <dgm:spPr/>
    </dgm:pt>
    <dgm:pt modelId="{3A255886-1391-4B27-A572-7097E3787BD4}" type="pres">
      <dgm:prSet presAssocID="{CFEDE839-0EEE-4E43-A0D2-CFDF1D932BFA}" presName="compNode" presStyleCnt="0"/>
      <dgm:spPr/>
    </dgm:pt>
    <dgm:pt modelId="{64A2C6D0-905C-49E7-9700-EF792214CDAA}" type="pres">
      <dgm:prSet presAssocID="{CFEDE839-0EEE-4E43-A0D2-CFDF1D932BF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Tools"/>
        </a:ext>
      </dgm:extLst>
    </dgm:pt>
    <dgm:pt modelId="{C7DBD937-57F6-47FA-941A-AA48F4D978A1}" type="pres">
      <dgm:prSet presAssocID="{CFEDE839-0EEE-4E43-A0D2-CFDF1D932BFA}" presName="spaceRect" presStyleCnt="0"/>
      <dgm:spPr/>
    </dgm:pt>
    <dgm:pt modelId="{D6F89310-C909-4B50-AB84-4710D289F552}" type="pres">
      <dgm:prSet presAssocID="{CFEDE839-0EEE-4E43-A0D2-CFDF1D932BFA}" presName="textRect" presStyleLbl="revTx" presStyleIdx="1" presStyleCnt="3">
        <dgm:presLayoutVars>
          <dgm:chMax val="1"/>
          <dgm:chPref val="1"/>
        </dgm:presLayoutVars>
      </dgm:prSet>
      <dgm:spPr/>
    </dgm:pt>
    <dgm:pt modelId="{E4EDCE74-18E0-45A3-B911-A025E45FD503}" type="pres">
      <dgm:prSet presAssocID="{788F4AD3-0B84-480E-A8B9-87B13C251F4A}" presName="sibTrans" presStyleCnt="0"/>
      <dgm:spPr/>
    </dgm:pt>
    <dgm:pt modelId="{308F7CBF-26D2-4B03-9D90-B4DB5A5D1017}" type="pres">
      <dgm:prSet presAssocID="{6EA84961-4B34-4D0E-B78A-D20E8A07F35E}" presName="compNode" presStyleCnt="0"/>
      <dgm:spPr/>
    </dgm:pt>
    <dgm:pt modelId="{E2F7313F-2ACF-42E3-BDC8-F8E465B54D82}" type="pres">
      <dgm:prSet presAssocID="{6EA84961-4B34-4D0E-B78A-D20E8A07F35E}"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ull Battery"/>
        </a:ext>
      </dgm:extLst>
    </dgm:pt>
    <dgm:pt modelId="{7963BB87-CAAE-4F89-A0D1-50B8A27AF80E}" type="pres">
      <dgm:prSet presAssocID="{6EA84961-4B34-4D0E-B78A-D20E8A07F35E}" presName="spaceRect" presStyleCnt="0"/>
      <dgm:spPr/>
    </dgm:pt>
    <dgm:pt modelId="{A18360DC-27D5-412F-8F13-AEFC9DE8D4D1}" type="pres">
      <dgm:prSet presAssocID="{6EA84961-4B34-4D0E-B78A-D20E8A07F35E}" presName="textRect" presStyleLbl="revTx" presStyleIdx="2" presStyleCnt="3">
        <dgm:presLayoutVars>
          <dgm:chMax val="1"/>
          <dgm:chPref val="1"/>
        </dgm:presLayoutVars>
      </dgm:prSet>
      <dgm:spPr/>
    </dgm:pt>
  </dgm:ptLst>
  <dgm:cxnLst>
    <dgm:cxn modelId="{3CE1933F-9647-4A75-9FA3-F2CFEE6B5C3E}" srcId="{C86698E6-408D-4FC2-B7C2-4BD3410F640B}" destId="{CFEDE839-0EEE-4E43-A0D2-CFDF1D932BFA}" srcOrd="1" destOrd="0" parTransId="{E8C4B266-3C4D-4599-9095-2B02E17EA2A4}" sibTransId="{788F4AD3-0B84-480E-A8B9-87B13C251F4A}"/>
    <dgm:cxn modelId="{3322F698-F81D-4EE5-91AD-29BEB2F5A3D6}" type="presOf" srcId="{325575CE-0AD4-4E34-9FC1-BBCF1528B73C}" destId="{FC815E32-C1E1-45C8-8940-8565F88C509B}" srcOrd="0" destOrd="0" presId="urn:microsoft.com/office/officeart/2018/2/layout/IconLabelList"/>
    <dgm:cxn modelId="{D5AAE7A2-EEF2-46B5-A865-AC9AAA91F986}" type="presOf" srcId="{6EA84961-4B34-4D0E-B78A-D20E8A07F35E}" destId="{A18360DC-27D5-412F-8F13-AEFC9DE8D4D1}" srcOrd="0" destOrd="0" presId="urn:microsoft.com/office/officeart/2018/2/layout/IconLabelList"/>
    <dgm:cxn modelId="{95F122B8-D569-4CBE-8671-A6105D49A37A}" type="presOf" srcId="{CFEDE839-0EEE-4E43-A0D2-CFDF1D932BFA}" destId="{D6F89310-C909-4B50-AB84-4710D289F552}" srcOrd="0" destOrd="0" presId="urn:microsoft.com/office/officeart/2018/2/layout/IconLabelList"/>
    <dgm:cxn modelId="{6175D2C0-6CC8-439B-8325-31D1AC94765F}" srcId="{C86698E6-408D-4FC2-B7C2-4BD3410F640B}" destId="{6EA84961-4B34-4D0E-B78A-D20E8A07F35E}" srcOrd="2" destOrd="0" parTransId="{16E943E6-803A-4B87-A99C-18B0BE63278B}" sibTransId="{0F3F36EA-8DC8-4F9A-A3DB-4B493C163BF8}"/>
    <dgm:cxn modelId="{F400CBD2-B115-490E-A06A-7A90EA956225}" srcId="{C86698E6-408D-4FC2-B7C2-4BD3410F640B}" destId="{325575CE-0AD4-4E34-9FC1-BBCF1528B73C}" srcOrd="0" destOrd="0" parTransId="{27A317EB-A5F4-4877-BEFF-F7D2E33C95ED}" sibTransId="{59D2B1BC-587F-41C2-9FA2-E9F068FF3A4B}"/>
    <dgm:cxn modelId="{986221EA-3540-4039-BC7F-A9A50BA73ED1}" type="presOf" srcId="{C86698E6-408D-4FC2-B7C2-4BD3410F640B}" destId="{D29EE383-502C-4465-931E-A15765B9C138}" srcOrd="0" destOrd="0" presId="urn:microsoft.com/office/officeart/2018/2/layout/IconLabelList"/>
    <dgm:cxn modelId="{400A1EEB-6508-4A34-A388-B8A361A5D08F}" type="presParOf" srcId="{D29EE383-502C-4465-931E-A15765B9C138}" destId="{EE108F94-464D-48AE-8E03-2C44C53CC1D2}" srcOrd="0" destOrd="0" presId="urn:microsoft.com/office/officeart/2018/2/layout/IconLabelList"/>
    <dgm:cxn modelId="{318A3E7B-3390-4F36-BBF6-622D7A348A4F}" type="presParOf" srcId="{EE108F94-464D-48AE-8E03-2C44C53CC1D2}" destId="{E55A5D67-1CDE-4FF2-A533-D589F7C3B96D}" srcOrd="0" destOrd="0" presId="urn:microsoft.com/office/officeart/2018/2/layout/IconLabelList"/>
    <dgm:cxn modelId="{7A05D9B2-0B92-471A-8892-4FD10A38292A}" type="presParOf" srcId="{EE108F94-464D-48AE-8E03-2C44C53CC1D2}" destId="{1848CED2-A210-42EB-8B1E-5E5587412EB3}" srcOrd="1" destOrd="0" presId="urn:microsoft.com/office/officeart/2018/2/layout/IconLabelList"/>
    <dgm:cxn modelId="{8D434E05-3A10-46A4-AA5C-56EA2110D680}" type="presParOf" srcId="{EE108F94-464D-48AE-8E03-2C44C53CC1D2}" destId="{FC815E32-C1E1-45C8-8940-8565F88C509B}" srcOrd="2" destOrd="0" presId="urn:microsoft.com/office/officeart/2018/2/layout/IconLabelList"/>
    <dgm:cxn modelId="{BB434EAE-3E50-4CDD-9E79-EC3082AFDADE}" type="presParOf" srcId="{D29EE383-502C-4465-931E-A15765B9C138}" destId="{235605DF-9CC8-4C05-A8C5-65A071E6E9EB}" srcOrd="1" destOrd="0" presId="urn:microsoft.com/office/officeart/2018/2/layout/IconLabelList"/>
    <dgm:cxn modelId="{365FCE56-5C3F-475E-AB8B-9971FB5E919B}" type="presParOf" srcId="{D29EE383-502C-4465-931E-A15765B9C138}" destId="{3A255886-1391-4B27-A572-7097E3787BD4}" srcOrd="2" destOrd="0" presId="urn:microsoft.com/office/officeart/2018/2/layout/IconLabelList"/>
    <dgm:cxn modelId="{CB85309C-AE24-4F6C-A3AC-9967E5E859E9}" type="presParOf" srcId="{3A255886-1391-4B27-A572-7097E3787BD4}" destId="{64A2C6D0-905C-49E7-9700-EF792214CDAA}" srcOrd="0" destOrd="0" presId="urn:microsoft.com/office/officeart/2018/2/layout/IconLabelList"/>
    <dgm:cxn modelId="{0786F81E-ABEE-4529-BD3C-4C4E398077FA}" type="presParOf" srcId="{3A255886-1391-4B27-A572-7097E3787BD4}" destId="{C7DBD937-57F6-47FA-941A-AA48F4D978A1}" srcOrd="1" destOrd="0" presId="urn:microsoft.com/office/officeart/2018/2/layout/IconLabelList"/>
    <dgm:cxn modelId="{A831E711-91D5-4A84-A787-0CBDDF768C6A}" type="presParOf" srcId="{3A255886-1391-4B27-A572-7097E3787BD4}" destId="{D6F89310-C909-4B50-AB84-4710D289F552}" srcOrd="2" destOrd="0" presId="urn:microsoft.com/office/officeart/2018/2/layout/IconLabelList"/>
    <dgm:cxn modelId="{52DE9232-99F2-46FC-B708-9F7D137A6AE2}" type="presParOf" srcId="{D29EE383-502C-4465-931E-A15765B9C138}" destId="{E4EDCE74-18E0-45A3-B911-A025E45FD503}" srcOrd="3" destOrd="0" presId="urn:microsoft.com/office/officeart/2018/2/layout/IconLabelList"/>
    <dgm:cxn modelId="{4C1237E9-2668-4DD2-8012-CFB51CB39C0E}" type="presParOf" srcId="{D29EE383-502C-4465-931E-A15765B9C138}" destId="{308F7CBF-26D2-4B03-9D90-B4DB5A5D1017}" srcOrd="4" destOrd="0" presId="urn:microsoft.com/office/officeart/2018/2/layout/IconLabelList"/>
    <dgm:cxn modelId="{1627298F-0491-4E70-9C9D-7D140DFA44C1}" type="presParOf" srcId="{308F7CBF-26D2-4B03-9D90-B4DB5A5D1017}" destId="{E2F7313F-2ACF-42E3-BDC8-F8E465B54D82}" srcOrd="0" destOrd="0" presId="urn:microsoft.com/office/officeart/2018/2/layout/IconLabelList"/>
    <dgm:cxn modelId="{0D956C54-56EB-4D84-B4CA-B683E292F53E}" type="presParOf" srcId="{308F7CBF-26D2-4B03-9D90-B4DB5A5D1017}" destId="{7963BB87-CAAE-4F89-A0D1-50B8A27AF80E}" srcOrd="1" destOrd="0" presId="urn:microsoft.com/office/officeart/2018/2/layout/IconLabelList"/>
    <dgm:cxn modelId="{93321839-6D1A-4382-9329-280B1A961BDB}" type="presParOf" srcId="{308F7CBF-26D2-4B03-9D90-B4DB5A5D1017}" destId="{A18360DC-27D5-412F-8F13-AEFC9DE8D4D1}"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EBD6FEF-4426-4C16-9214-646B5DABD53A}" type="doc">
      <dgm:prSet loTypeId="urn:microsoft.com/office/officeart/2005/8/layout/arrow5" loCatId="relationship" qsTypeId="urn:microsoft.com/office/officeart/2005/8/quickstyle/simple5" qsCatId="simple" csTypeId="urn:microsoft.com/office/officeart/2005/8/colors/accent3_2" csCatId="accent3" phldr="1"/>
      <dgm:spPr/>
      <dgm:t>
        <a:bodyPr/>
        <a:lstStyle/>
        <a:p>
          <a:endParaRPr lang="en-US"/>
        </a:p>
      </dgm:t>
    </dgm:pt>
    <dgm:pt modelId="{9DB8A324-6B9E-4B98-BAA4-737832D39750}">
      <dgm:prSet/>
      <dgm:spPr/>
      <dgm:t>
        <a:bodyPr/>
        <a:lstStyle/>
        <a:p>
          <a:r>
            <a:rPr lang="en-IN" dirty="0"/>
            <a:t>🧠 </a:t>
          </a:r>
          <a:r>
            <a:rPr lang="en-IN" b="1" dirty="0"/>
            <a:t>AI &amp; ML:</a:t>
          </a:r>
          <a:r>
            <a:rPr lang="en-IN" dirty="0"/>
            <a:t> Predict failures and optimize vehicle systems</a:t>
          </a:r>
          <a:endParaRPr lang="en-US" dirty="0"/>
        </a:p>
      </dgm:t>
    </dgm:pt>
    <dgm:pt modelId="{898EA5EC-E847-49C7-B7E0-8825EC0E8481}" type="parTrans" cxnId="{C658775E-453E-4D69-B4FD-FE2CD00E4428}">
      <dgm:prSet/>
      <dgm:spPr/>
      <dgm:t>
        <a:bodyPr/>
        <a:lstStyle/>
        <a:p>
          <a:endParaRPr lang="en-US"/>
        </a:p>
      </dgm:t>
    </dgm:pt>
    <dgm:pt modelId="{F3C5BE57-3931-4372-A780-62EABF476C2E}" type="sibTrans" cxnId="{C658775E-453E-4D69-B4FD-FE2CD00E4428}">
      <dgm:prSet/>
      <dgm:spPr/>
      <dgm:t>
        <a:bodyPr/>
        <a:lstStyle/>
        <a:p>
          <a:endParaRPr lang="en-US"/>
        </a:p>
      </dgm:t>
    </dgm:pt>
    <dgm:pt modelId="{C967E202-51BB-4AC2-9E14-DB06B6964954}">
      <dgm:prSet/>
      <dgm:spPr/>
      <dgm:t>
        <a:bodyPr/>
        <a:lstStyle/>
        <a:p>
          <a:r>
            <a:rPr lang="en-IN"/>
            <a:t>🌐 </a:t>
          </a:r>
          <a:r>
            <a:rPr lang="en-IN" b="1"/>
            <a:t>IoT Sensors:</a:t>
          </a:r>
          <a:r>
            <a:rPr lang="en-IN"/>
            <a:t> Capture live data like speed, pressure, etc.</a:t>
          </a:r>
          <a:endParaRPr lang="en-US"/>
        </a:p>
      </dgm:t>
    </dgm:pt>
    <dgm:pt modelId="{1AB52FC5-4572-41BC-BE80-A81F8E14828A}" type="parTrans" cxnId="{EC97F389-BD6E-440B-AB6B-9FAD44534341}">
      <dgm:prSet/>
      <dgm:spPr/>
      <dgm:t>
        <a:bodyPr/>
        <a:lstStyle/>
        <a:p>
          <a:endParaRPr lang="en-US"/>
        </a:p>
      </dgm:t>
    </dgm:pt>
    <dgm:pt modelId="{4C2FBDD9-D690-438B-92C0-77C7C6A9A474}" type="sibTrans" cxnId="{EC97F389-BD6E-440B-AB6B-9FAD44534341}">
      <dgm:prSet/>
      <dgm:spPr/>
      <dgm:t>
        <a:bodyPr/>
        <a:lstStyle/>
        <a:p>
          <a:endParaRPr lang="en-US"/>
        </a:p>
      </dgm:t>
    </dgm:pt>
    <dgm:pt modelId="{9F751FFA-998E-4060-A2BA-D087931DFC1A}">
      <dgm:prSet/>
      <dgm:spPr/>
      <dgm:t>
        <a:bodyPr/>
        <a:lstStyle/>
        <a:p>
          <a:r>
            <a:rPr lang="en-IN" dirty="0"/>
            <a:t>☁️ </a:t>
          </a:r>
          <a:r>
            <a:rPr lang="en-IN" b="1" dirty="0"/>
            <a:t>Cloud &amp; Edge Computing:</a:t>
          </a:r>
          <a:r>
            <a:rPr lang="en-IN" dirty="0"/>
            <a:t> Enable fast data processing and feedback</a:t>
          </a:r>
          <a:endParaRPr lang="en-US" dirty="0"/>
        </a:p>
      </dgm:t>
    </dgm:pt>
    <dgm:pt modelId="{C786B968-87C7-43FD-AB2D-F99DA5C899BB}" type="parTrans" cxnId="{F985A8B2-92D8-4DF4-B823-F5687A2B5120}">
      <dgm:prSet/>
      <dgm:spPr/>
      <dgm:t>
        <a:bodyPr/>
        <a:lstStyle/>
        <a:p>
          <a:endParaRPr lang="en-US"/>
        </a:p>
      </dgm:t>
    </dgm:pt>
    <dgm:pt modelId="{F657A5B1-6E71-4461-B7E9-DA1D932C1D1F}" type="sibTrans" cxnId="{F985A8B2-92D8-4DF4-B823-F5687A2B5120}">
      <dgm:prSet/>
      <dgm:spPr/>
      <dgm:t>
        <a:bodyPr/>
        <a:lstStyle/>
        <a:p>
          <a:endParaRPr lang="en-US"/>
        </a:p>
      </dgm:t>
    </dgm:pt>
    <dgm:pt modelId="{9C2E272B-D6B1-457A-AE39-0FAD0EE12CE1}">
      <dgm:prSet/>
      <dgm:spPr/>
      <dgm:t>
        <a:bodyPr/>
        <a:lstStyle/>
        <a:p>
          <a:r>
            <a:rPr lang="en-IN" dirty="0"/>
            <a:t>🧪 </a:t>
          </a:r>
          <a:r>
            <a:rPr lang="en-IN" b="1" dirty="0"/>
            <a:t>Simulation Tools:</a:t>
          </a:r>
          <a:r>
            <a:rPr lang="en-IN" dirty="0"/>
            <a:t> Run digital tests for virtual validation</a:t>
          </a:r>
          <a:endParaRPr lang="en-US" dirty="0"/>
        </a:p>
      </dgm:t>
    </dgm:pt>
    <dgm:pt modelId="{A2E362C6-F111-4B77-AE5A-CD5E19B3FB91}" type="parTrans" cxnId="{D6E908D1-0308-4BE7-95E7-0321C4DBCD85}">
      <dgm:prSet/>
      <dgm:spPr/>
      <dgm:t>
        <a:bodyPr/>
        <a:lstStyle/>
        <a:p>
          <a:endParaRPr lang="en-US"/>
        </a:p>
      </dgm:t>
    </dgm:pt>
    <dgm:pt modelId="{45DD2E38-B91C-49B3-B44A-1C8F8AC2D96A}" type="sibTrans" cxnId="{D6E908D1-0308-4BE7-95E7-0321C4DBCD85}">
      <dgm:prSet/>
      <dgm:spPr/>
      <dgm:t>
        <a:bodyPr/>
        <a:lstStyle/>
        <a:p>
          <a:endParaRPr lang="en-US"/>
        </a:p>
      </dgm:t>
    </dgm:pt>
    <dgm:pt modelId="{210490A6-DAA3-436C-BC41-7EFE3CD7CA5D}">
      <dgm:prSet/>
      <dgm:spPr/>
      <dgm:t>
        <a:bodyPr/>
        <a:lstStyle/>
        <a:p>
          <a:r>
            <a:rPr lang="en-IN" dirty="0"/>
            <a:t>📡 </a:t>
          </a:r>
          <a:r>
            <a:rPr lang="en-IN" b="1" dirty="0"/>
            <a:t>5G Connectivity:</a:t>
          </a:r>
          <a:r>
            <a:rPr lang="en-IN" dirty="0"/>
            <a:t> Ensure real-time data flow and OTA updates</a:t>
          </a:r>
          <a:endParaRPr lang="en-US" dirty="0"/>
        </a:p>
      </dgm:t>
    </dgm:pt>
    <dgm:pt modelId="{93E09AB1-F63E-4751-93C7-C38237657198}" type="parTrans" cxnId="{42F07B1A-3AA7-4995-94A5-57D292B18EAB}">
      <dgm:prSet/>
      <dgm:spPr/>
      <dgm:t>
        <a:bodyPr/>
        <a:lstStyle/>
        <a:p>
          <a:endParaRPr lang="en-US"/>
        </a:p>
      </dgm:t>
    </dgm:pt>
    <dgm:pt modelId="{8FCEBDB3-29B0-4E83-84FC-096E5994C7E2}" type="sibTrans" cxnId="{42F07B1A-3AA7-4995-94A5-57D292B18EAB}">
      <dgm:prSet/>
      <dgm:spPr/>
      <dgm:t>
        <a:bodyPr/>
        <a:lstStyle/>
        <a:p>
          <a:endParaRPr lang="en-US"/>
        </a:p>
      </dgm:t>
    </dgm:pt>
    <dgm:pt modelId="{8E3C3C49-6FC0-4234-9A71-3637BA38F8D7}" type="pres">
      <dgm:prSet presAssocID="{8EBD6FEF-4426-4C16-9214-646B5DABD53A}" presName="diagram" presStyleCnt="0">
        <dgm:presLayoutVars>
          <dgm:dir/>
          <dgm:resizeHandles val="exact"/>
        </dgm:presLayoutVars>
      </dgm:prSet>
      <dgm:spPr/>
    </dgm:pt>
    <dgm:pt modelId="{3BFA3731-DDAB-4A28-8C0D-0811778505C5}" type="pres">
      <dgm:prSet presAssocID="{9DB8A324-6B9E-4B98-BAA4-737832D39750}" presName="arrow" presStyleLbl="node1" presStyleIdx="0" presStyleCnt="5" custAng="0" custRadScaleRad="86116" custRadScaleInc="2375">
        <dgm:presLayoutVars>
          <dgm:bulletEnabled val="1"/>
        </dgm:presLayoutVars>
      </dgm:prSet>
      <dgm:spPr/>
    </dgm:pt>
    <dgm:pt modelId="{2AB8B0EE-4932-45DB-8C4E-2141609469A9}" type="pres">
      <dgm:prSet presAssocID="{C967E202-51BB-4AC2-9E14-DB06B6964954}" presName="arrow" presStyleLbl="node1" presStyleIdx="1" presStyleCnt="5" custAng="1080000" custRadScaleRad="337431" custRadScaleInc="-7086">
        <dgm:presLayoutVars>
          <dgm:bulletEnabled val="1"/>
        </dgm:presLayoutVars>
      </dgm:prSet>
      <dgm:spPr/>
    </dgm:pt>
    <dgm:pt modelId="{8D6422FF-11C2-4CE2-8596-7E6CBA905FCD}" type="pres">
      <dgm:prSet presAssocID="{9F751FFA-998E-4060-A2BA-D087931DFC1A}" presName="arrow" presStyleLbl="node1" presStyleIdx="2" presStyleCnt="5" custAng="18360000" custRadScaleRad="303700" custRadScaleInc="-46106">
        <dgm:presLayoutVars>
          <dgm:bulletEnabled val="1"/>
        </dgm:presLayoutVars>
      </dgm:prSet>
      <dgm:spPr/>
    </dgm:pt>
    <dgm:pt modelId="{65763F31-5017-491F-9F28-DFFA5076C3A5}" type="pres">
      <dgm:prSet presAssocID="{9C2E272B-D6B1-457A-AE39-0FAD0EE12CE1}" presName="arrow" presStyleLbl="node1" presStyleIdx="3" presStyleCnt="5" custAng="3240000" custRadScaleRad="272011" custRadScaleInc="41587">
        <dgm:presLayoutVars>
          <dgm:bulletEnabled val="1"/>
        </dgm:presLayoutVars>
      </dgm:prSet>
      <dgm:spPr/>
    </dgm:pt>
    <dgm:pt modelId="{B0DB50FA-B015-4004-9B1E-EED8D5095F6D}" type="pres">
      <dgm:prSet presAssocID="{210490A6-DAA3-436C-BC41-7EFE3CD7CA5D}" presName="arrow" presStyleLbl="node1" presStyleIdx="4" presStyleCnt="5" custAng="20520000" custScaleX="117596" custScaleY="97410" custRadScaleRad="325894" custRadScaleInc="1510">
        <dgm:presLayoutVars>
          <dgm:bulletEnabled val="1"/>
        </dgm:presLayoutVars>
      </dgm:prSet>
      <dgm:spPr/>
    </dgm:pt>
  </dgm:ptLst>
  <dgm:cxnLst>
    <dgm:cxn modelId="{77F6D410-8AD2-4D88-B337-C0776C10FA59}" type="presOf" srcId="{210490A6-DAA3-436C-BC41-7EFE3CD7CA5D}" destId="{B0DB50FA-B015-4004-9B1E-EED8D5095F6D}" srcOrd="0" destOrd="0" presId="urn:microsoft.com/office/officeart/2005/8/layout/arrow5"/>
    <dgm:cxn modelId="{42F07B1A-3AA7-4995-94A5-57D292B18EAB}" srcId="{8EBD6FEF-4426-4C16-9214-646B5DABD53A}" destId="{210490A6-DAA3-436C-BC41-7EFE3CD7CA5D}" srcOrd="4" destOrd="0" parTransId="{93E09AB1-F63E-4751-93C7-C38237657198}" sibTransId="{8FCEBDB3-29B0-4E83-84FC-096E5994C7E2}"/>
    <dgm:cxn modelId="{431C4638-F96E-434E-A643-8F5E0B4F37EA}" type="presOf" srcId="{9DB8A324-6B9E-4B98-BAA4-737832D39750}" destId="{3BFA3731-DDAB-4A28-8C0D-0811778505C5}" srcOrd="0" destOrd="0" presId="urn:microsoft.com/office/officeart/2005/8/layout/arrow5"/>
    <dgm:cxn modelId="{C658775E-453E-4D69-B4FD-FE2CD00E4428}" srcId="{8EBD6FEF-4426-4C16-9214-646B5DABD53A}" destId="{9DB8A324-6B9E-4B98-BAA4-737832D39750}" srcOrd="0" destOrd="0" parTransId="{898EA5EC-E847-49C7-B7E0-8825EC0E8481}" sibTransId="{F3C5BE57-3931-4372-A780-62EABF476C2E}"/>
    <dgm:cxn modelId="{C53B7E60-5BEB-4B4D-82A5-2CF9BBC6783B}" type="presOf" srcId="{8EBD6FEF-4426-4C16-9214-646B5DABD53A}" destId="{8E3C3C49-6FC0-4234-9A71-3637BA38F8D7}" srcOrd="0" destOrd="0" presId="urn:microsoft.com/office/officeart/2005/8/layout/arrow5"/>
    <dgm:cxn modelId="{3706FE51-2E2A-44BE-A31A-3208EC6A8BA3}" type="presOf" srcId="{C967E202-51BB-4AC2-9E14-DB06B6964954}" destId="{2AB8B0EE-4932-45DB-8C4E-2141609469A9}" srcOrd="0" destOrd="0" presId="urn:microsoft.com/office/officeart/2005/8/layout/arrow5"/>
    <dgm:cxn modelId="{CE620E86-DF71-4296-87DC-6D3DBA52537D}" type="presOf" srcId="{9C2E272B-D6B1-457A-AE39-0FAD0EE12CE1}" destId="{65763F31-5017-491F-9F28-DFFA5076C3A5}" srcOrd="0" destOrd="0" presId="urn:microsoft.com/office/officeart/2005/8/layout/arrow5"/>
    <dgm:cxn modelId="{EC97F389-BD6E-440B-AB6B-9FAD44534341}" srcId="{8EBD6FEF-4426-4C16-9214-646B5DABD53A}" destId="{C967E202-51BB-4AC2-9E14-DB06B6964954}" srcOrd="1" destOrd="0" parTransId="{1AB52FC5-4572-41BC-BE80-A81F8E14828A}" sibTransId="{4C2FBDD9-D690-438B-92C0-77C7C6A9A474}"/>
    <dgm:cxn modelId="{8F806796-E323-4D24-95BA-C87E4BDC45DA}" type="presOf" srcId="{9F751FFA-998E-4060-A2BA-D087931DFC1A}" destId="{8D6422FF-11C2-4CE2-8596-7E6CBA905FCD}" srcOrd="0" destOrd="0" presId="urn:microsoft.com/office/officeart/2005/8/layout/arrow5"/>
    <dgm:cxn modelId="{F985A8B2-92D8-4DF4-B823-F5687A2B5120}" srcId="{8EBD6FEF-4426-4C16-9214-646B5DABD53A}" destId="{9F751FFA-998E-4060-A2BA-D087931DFC1A}" srcOrd="2" destOrd="0" parTransId="{C786B968-87C7-43FD-AB2D-F99DA5C899BB}" sibTransId="{F657A5B1-6E71-4461-B7E9-DA1D932C1D1F}"/>
    <dgm:cxn modelId="{D6E908D1-0308-4BE7-95E7-0321C4DBCD85}" srcId="{8EBD6FEF-4426-4C16-9214-646B5DABD53A}" destId="{9C2E272B-D6B1-457A-AE39-0FAD0EE12CE1}" srcOrd="3" destOrd="0" parTransId="{A2E362C6-F111-4B77-AE5A-CD5E19B3FB91}" sibTransId="{45DD2E38-B91C-49B3-B44A-1C8F8AC2D96A}"/>
    <dgm:cxn modelId="{1E3C48DC-64FC-4BB7-A4FD-491DF07C7361}" type="presParOf" srcId="{8E3C3C49-6FC0-4234-9A71-3637BA38F8D7}" destId="{3BFA3731-DDAB-4A28-8C0D-0811778505C5}" srcOrd="0" destOrd="0" presId="urn:microsoft.com/office/officeart/2005/8/layout/arrow5"/>
    <dgm:cxn modelId="{77E505AF-C164-49EC-8E0D-7F1518B752CB}" type="presParOf" srcId="{8E3C3C49-6FC0-4234-9A71-3637BA38F8D7}" destId="{2AB8B0EE-4932-45DB-8C4E-2141609469A9}" srcOrd="1" destOrd="0" presId="urn:microsoft.com/office/officeart/2005/8/layout/arrow5"/>
    <dgm:cxn modelId="{556B704B-1652-4D80-8AE6-3F42DBA1C857}" type="presParOf" srcId="{8E3C3C49-6FC0-4234-9A71-3637BA38F8D7}" destId="{8D6422FF-11C2-4CE2-8596-7E6CBA905FCD}" srcOrd="2" destOrd="0" presId="urn:microsoft.com/office/officeart/2005/8/layout/arrow5"/>
    <dgm:cxn modelId="{82D0F616-D613-4551-9866-2A754CFA658A}" type="presParOf" srcId="{8E3C3C49-6FC0-4234-9A71-3637BA38F8D7}" destId="{65763F31-5017-491F-9F28-DFFA5076C3A5}" srcOrd="3" destOrd="0" presId="urn:microsoft.com/office/officeart/2005/8/layout/arrow5"/>
    <dgm:cxn modelId="{3B9B84C9-496B-475F-8242-DE6CEEC9F508}" type="presParOf" srcId="{8E3C3C49-6FC0-4234-9A71-3637BA38F8D7}" destId="{B0DB50FA-B015-4004-9B1E-EED8D5095F6D}" srcOrd="4" destOrd="0" presId="urn:microsoft.com/office/officeart/2005/8/layout/arrow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5D50F-C5DB-459E-8639-8C87B615B7E9}">
      <dsp:nvSpPr>
        <dsp:cNvPr id="0" name=""/>
        <dsp:cNvSpPr/>
      </dsp:nvSpPr>
      <dsp:spPr>
        <a:xfrm>
          <a:off x="3291579" y="9446"/>
          <a:ext cx="2914293" cy="1213933"/>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IN" sz="1700" kern="1200" dirty="0"/>
            <a:t>Simulate aerodynamics, crash behaviour, and NVH (Noise, Vibration, Harshness)</a:t>
          </a:r>
          <a:endParaRPr lang="en-US" sz="1700" kern="1200" dirty="0"/>
        </a:p>
      </dsp:txBody>
      <dsp:txXfrm>
        <a:off x="3350838" y="68705"/>
        <a:ext cx="2795775" cy="1095415"/>
      </dsp:txXfrm>
    </dsp:sp>
    <dsp:sp modelId="{1E6C121E-71A9-48E7-90C9-AA1018D15B7E}">
      <dsp:nvSpPr>
        <dsp:cNvPr id="0" name=""/>
        <dsp:cNvSpPr/>
      </dsp:nvSpPr>
      <dsp:spPr>
        <a:xfrm>
          <a:off x="2856691" y="1387539"/>
          <a:ext cx="3784070" cy="1196004"/>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IN" sz="1700" kern="1200"/>
            <a:t>Reduce physical prototyping time and cost</a:t>
          </a:r>
          <a:endParaRPr lang="en-US" sz="1700" kern="1200"/>
        </a:p>
      </dsp:txBody>
      <dsp:txXfrm>
        <a:off x="2915075" y="1445923"/>
        <a:ext cx="3667302" cy="1079236"/>
      </dsp:txXfrm>
    </dsp:sp>
    <dsp:sp modelId="{EE8E5EE3-CAE3-4190-BB00-B1495F28FEDB}">
      <dsp:nvSpPr>
        <dsp:cNvPr id="0" name=""/>
        <dsp:cNvSpPr/>
      </dsp:nvSpPr>
      <dsp:spPr>
        <a:xfrm>
          <a:off x="2359689" y="2747704"/>
          <a:ext cx="4778073" cy="1595393"/>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IN" sz="1700" i="1" kern="1200"/>
            <a:t>Example:</a:t>
          </a:r>
          <a:r>
            <a:rPr lang="en-IN" sz="1700" kern="1200"/>
            <a:t> Virtual crash tests for bumper design validation</a:t>
          </a:r>
          <a:endParaRPr lang="en-US" sz="1700" kern="1200"/>
        </a:p>
      </dsp:txBody>
      <dsp:txXfrm>
        <a:off x="2437570" y="2825585"/>
        <a:ext cx="4622311" cy="143963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ED201D-195C-43A5-88D4-57EA0DE78CBC}">
      <dsp:nvSpPr>
        <dsp:cNvPr id="0" name=""/>
        <dsp:cNvSpPr/>
      </dsp:nvSpPr>
      <dsp:spPr>
        <a:xfrm>
          <a:off x="7507563" y="0"/>
          <a:ext cx="3552675" cy="1480792"/>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Digital twins of production lines to analyze workflow and reduce downtime</a:t>
          </a:r>
        </a:p>
      </dsp:txBody>
      <dsp:txXfrm>
        <a:off x="7579849" y="72286"/>
        <a:ext cx="3408103" cy="1336220"/>
      </dsp:txXfrm>
    </dsp:sp>
    <dsp:sp modelId="{5C0D2D79-DEEF-4195-8B3B-60C6159DF8F1}">
      <dsp:nvSpPr>
        <dsp:cNvPr id="0" name=""/>
        <dsp:cNvSpPr/>
      </dsp:nvSpPr>
      <dsp:spPr>
        <a:xfrm>
          <a:off x="7219220" y="1863450"/>
          <a:ext cx="4182564" cy="1125608"/>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Identify bottlenecks and simulate improvements</a:t>
          </a:r>
        </a:p>
      </dsp:txBody>
      <dsp:txXfrm>
        <a:off x="7274168" y="1918398"/>
        <a:ext cx="4072668" cy="1015712"/>
      </dsp:txXfrm>
    </dsp:sp>
    <dsp:sp modelId="{3AAAE442-2728-4C49-B19C-7BF7B13C7C65}">
      <dsp:nvSpPr>
        <dsp:cNvPr id="0" name=""/>
        <dsp:cNvSpPr/>
      </dsp:nvSpPr>
      <dsp:spPr>
        <a:xfrm>
          <a:off x="6482324" y="3295471"/>
          <a:ext cx="5554524" cy="1082332"/>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i="1" kern="1200" dirty="0"/>
            <a:t>Example:</a:t>
          </a:r>
          <a:r>
            <a:rPr lang="en-US" sz="2300" kern="1200" dirty="0"/>
            <a:t> Simulating car paint booths for better coating efficiency</a:t>
          </a:r>
        </a:p>
      </dsp:txBody>
      <dsp:txXfrm>
        <a:off x="6535159" y="3348306"/>
        <a:ext cx="5448854" cy="9766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27B2F1-78BE-4BA1-BEE7-49FC1A9610E7}">
      <dsp:nvSpPr>
        <dsp:cNvPr id="0" name=""/>
        <dsp:cNvSpPr/>
      </dsp:nvSpPr>
      <dsp:spPr>
        <a:xfrm>
          <a:off x="4281050" y="25750"/>
          <a:ext cx="2408090" cy="14470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dirty="0"/>
            <a:t>Integrate with </a:t>
          </a:r>
          <a:r>
            <a:rPr lang="en-US" sz="1900" kern="1200" dirty="0" err="1"/>
            <a:t>HiL</a:t>
          </a:r>
          <a:r>
            <a:rPr lang="en-US" sz="1900" kern="1200" dirty="0"/>
            <a:t> and </a:t>
          </a:r>
          <a:r>
            <a:rPr lang="en-US" sz="1900" kern="1200" dirty="0" err="1"/>
            <a:t>SiL</a:t>
          </a:r>
          <a:r>
            <a:rPr lang="en-US" sz="1900" kern="1200" dirty="0"/>
            <a:t> systems for early-stage validation</a:t>
          </a:r>
        </a:p>
      </dsp:txBody>
      <dsp:txXfrm>
        <a:off x="4351689" y="96389"/>
        <a:ext cx="2266812" cy="1305772"/>
      </dsp:txXfrm>
    </dsp:sp>
    <dsp:sp modelId="{0392BBB1-129D-419E-87E0-D399F0DA11F1}">
      <dsp:nvSpPr>
        <dsp:cNvPr id="0" name=""/>
        <dsp:cNvSpPr/>
      </dsp:nvSpPr>
      <dsp:spPr>
        <a:xfrm>
          <a:off x="1224126" y="1652742"/>
          <a:ext cx="2408090" cy="14470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dirty="0"/>
            <a:t>Test control systems, fuel efficiency, and emissions in a virtual environment</a:t>
          </a:r>
        </a:p>
      </dsp:txBody>
      <dsp:txXfrm>
        <a:off x="1294765" y="1723381"/>
        <a:ext cx="2266812" cy="1305772"/>
      </dsp:txXfrm>
    </dsp:sp>
    <dsp:sp modelId="{1053EF55-EC72-43E0-9422-15BF3FE9900E}">
      <dsp:nvSpPr>
        <dsp:cNvPr id="0" name=""/>
        <dsp:cNvSpPr/>
      </dsp:nvSpPr>
      <dsp:spPr>
        <a:xfrm>
          <a:off x="4248471" y="3043192"/>
          <a:ext cx="2408090" cy="14470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i="1" kern="1200" dirty="0"/>
            <a:t>Example:</a:t>
          </a:r>
          <a:r>
            <a:rPr lang="en-US" sz="1900" kern="1200" dirty="0"/>
            <a:t> ECU calibration using digital twin for BS6 compliance</a:t>
          </a:r>
        </a:p>
      </dsp:txBody>
      <dsp:txXfrm>
        <a:off x="4319110" y="3113831"/>
        <a:ext cx="2266812" cy="130577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5A5D67-1CDE-4FF2-A533-D589F7C3B96D}">
      <dsp:nvSpPr>
        <dsp:cNvPr id="0" name=""/>
        <dsp:cNvSpPr/>
      </dsp:nvSpPr>
      <dsp:spPr>
        <a:xfrm>
          <a:off x="536538" y="804988"/>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C815E32-C1E1-45C8-8940-8565F88C509B}">
      <dsp:nvSpPr>
        <dsp:cNvPr id="0" name=""/>
        <dsp:cNvSpPr/>
      </dsp:nvSpPr>
      <dsp:spPr>
        <a:xfrm>
          <a:off x="41538" y="1885134"/>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t>Monitor real-time health of components</a:t>
          </a:r>
        </a:p>
      </dsp:txBody>
      <dsp:txXfrm>
        <a:off x="41538" y="1885134"/>
        <a:ext cx="1800000" cy="720000"/>
      </dsp:txXfrm>
    </dsp:sp>
    <dsp:sp modelId="{64A2C6D0-905C-49E7-9700-EF792214CDAA}">
      <dsp:nvSpPr>
        <dsp:cNvPr id="0" name=""/>
        <dsp:cNvSpPr/>
      </dsp:nvSpPr>
      <dsp:spPr>
        <a:xfrm>
          <a:off x="2651538" y="804988"/>
          <a:ext cx="810000" cy="81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6F89310-C909-4B50-AB84-4710D289F552}">
      <dsp:nvSpPr>
        <dsp:cNvPr id="0" name=""/>
        <dsp:cNvSpPr/>
      </dsp:nvSpPr>
      <dsp:spPr>
        <a:xfrm>
          <a:off x="2156538" y="1885134"/>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t>Predict failures and schedule proactive maintenance</a:t>
          </a:r>
        </a:p>
      </dsp:txBody>
      <dsp:txXfrm>
        <a:off x="2156538" y="1885134"/>
        <a:ext cx="1800000" cy="720000"/>
      </dsp:txXfrm>
    </dsp:sp>
    <dsp:sp modelId="{E2F7313F-2ACF-42E3-BDC8-F8E465B54D82}">
      <dsp:nvSpPr>
        <dsp:cNvPr id="0" name=""/>
        <dsp:cNvSpPr/>
      </dsp:nvSpPr>
      <dsp:spPr>
        <a:xfrm>
          <a:off x="4766538" y="804988"/>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18360DC-27D5-412F-8F13-AEFC9DE8D4D1}">
      <dsp:nvSpPr>
        <dsp:cNvPr id="0" name=""/>
        <dsp:cNvSpPr/>
      </dsp:nvSpPr>
      <dsp:spPr>
        <a:xfrm>
          <a:off x="4271538" y="1885134"/>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i="1" kern="1200" dirty="0"/>
            <a:t>Example:</a:t>
          </a:r>
          <a:r>
            <a:rPr lang="en-US" sz="1600" kern="1200" dirty="0"/>
            <a:t> Forecasting battery degradation in electric vehicles</a:t>
          </a:r>
        </a:p>
      </dsp:txBody>
      <dsp:txXfrm>
        <a:off x="4271538" y="1885134"/>
        <a:ext cx="1800000"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FA3731-DDAB-4A28-8C0D-0811778505C5}">
      <dsp:nvSpPr>
        <dsp:cNvPr id="0" name=""/>
        <dsp:cNvSpPr/>
      </dsp:nvSpPr>
      <dsp:spPr>
        <a:xfrm>
          <a:off x="4602745" y="256585"/>
          <a:ext cx="2080203" cy="2080203"/>
        </a:xfrm>
        <a:prstGeom prst="downArrow">
          <a:avLst>
            <a:gd name="adj1" fmla="val 50000"/>
            <a:gd name="adj2" fmla="val 35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IN" sz="1300" kern="1200" dirty="0"/>
            <a:t>🧠 </a:t>
          </a:r>
          <a:r>
            <a:rPr lang="en-IN" sz="1300" b="1" kern="1200" dirty="0"/>
            <a:t>AI &amp; ML:</a:t>
          </a:r>
          <a:r>
            <a:rPr lang="en-IN" sz="1300" kern="1200" dirty="0"/>
            <a:t> Predict failures and optimize vehicle systems</a:t>
          </a:r>
          <a:endParaRPr lang="en-US" sz="1300" kern="1200" dirty="0"/>
        </a:p>
      </dsp:txBody>
      <dsp:txXfrm>
        <a:off x="5122796" y="256585"/>
        <a:ext cx="1040101" cy="1716167"/>
      </dsp:txXfrm>
    </dsp:sp>
    <dsp:sp modelId="{2AB8B0EE-4932-45DB-8C4E-2141609469A9}">
      <dsp:nvSpPr>
        <dsp:cNvPr id="0" name=""/>
        <dsp:cNvSpPr/>
      </dsp:nvSpPr>
      <dsp:spPr>
        <a:xfrm rot="5400000">
          <a:off x="8928209" y="0"/>
          <a:ext cx="2080203" cy="2080203"/>
        </a:xfrm>
        <a:prstGeom prst="downArrow">
          <a:avLst>
            <a:gd name="adj1" fmla="val 50000"/>
            <a:gd name="adj2" fmla="val 35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IN" sz="1300" kern="1200"/>
            <a:t>🌐 </a:t>
          </a:r>
          <a:r>
            <a:rPr lang="en-IN" sz="1300" b="1" kern="1200"/>
            <a:t>IoT Sensors:</a:t>
          </a:r>
          <a:r>
            <a:rPr lang="en-IN" sz="1300" kern="1200"/>
            <a:t> Capture live data like speed, pressure, etc.</a:t>
          </a:r>
          <a:endParaRPr lang="en-US" sz="1300" kern="1200"/>
        </a:p>
      </dsp:txBody>
      <dsp:txXfrm rot="-5400000">
        <a:off x="9292245" y="520051"/>
        <a:ext cx="1716167" cy="1040101"/>
      </dsp:txXfrm>
    </dsp:sp>
    <dsp:sp modelId="{8D6422FF-11C2-4CE2-8596-7E6CBA905FCD}">
      <dsp:nvSpPr>
        <dsp:cNvPr id="0" name=""/>
        <dsp:cNvSpPr/>
      </dsp:nvSpPr>
      <dsp:spPr>
        <a:xfrm rot="5400000">
          <a:off x="8928209" y="3320396"/>
          <a:ext cx="2080203" cy="2080203"/>
        </a:xfrm>
        <a:prstGeom prst="downArrow">
          <a:avLst>
            <a:gd name="adj1" fmla="val 50000"/>
            <a:gd name="adj2" fmla="val 35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IN" sz="1300" kern="1200" dirty="0"/>
            <a:t>☁️ </a:t>
          </a:r>
          <a:r>
            <a:rPr lang="en-IN" sz="1300" b="1" kern="1200" dirty="0"/>
            <a:t>Cloud &amp; Edge Computing:</a:t>
          </a:r>
          <a:r>
            <a:rPr lang="en-IN" sz="1300" kern="1200" dirty="0"/>
            <a:t> Enable fast data processing and feedback</a:t>
          </a:r>
          <a:endParaRPr lang="en-US" sz="1300" kern="1200" dirty="0"/>
        </a:p>
      </dsp:txBody>
      <dsp:txXfrm rot="10800000">
        <a:off x="9630278" y="3502414"/>
        <a:ext cx="1040101" cy="1716167"/>
      </dsp:txXfrm>
    </dsp:sp>
    <dsp:sp modelId="{65763F31-5017-491F-9F28-DFFA5076C3A5}">
      <dsp:nvSpPr>
        <dsp:cNvPr id="0" name=""/>
        <dsp:cNvSpPr/>
      </dsp:nvSpPr>
      <dsp:spPr>
        <a:xfrm rot="16200000">
          <a:off x="0" y="3320396"/>
          <a:ext cx="2080203" cy="2080203"/>
        </a:xfrm>
        <a:prstGeom prst="downArrow">
          <a:avLst>
            <a:gd name="adj1" fmla="val 50000"/>
            <a:gd name="adj2" fmla="val 35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IN" sz="1300" kern="1200" dirty="0"/>
            <a:t>🧪 </a:t>
          </a:r>
          <a:r>
            <a:rPr lang="en-IN" sz="1300" b="1" kern="1200" dirty="0"/>
            <a:t>Simulation Tools:</a:t>
          </a:r>
          <a:r>
            <a:rPr lang="en-IN" sz="1300" kern="1200" dirty="0"/>
            <a:t> Run digital tests for virtual validation</a:t>
          </a:r>
          <a:endParaRPr lang="en-US" sz="1300" kern="1200" dirty="0"/>
        </a:p>
      </dsp:txBody>
      <dsp:txXfrm rot="10800000">
        <a:off x="338033" y="3502414"/>
        <a:ext cx="1040101" cy="1716167"/>
      </dsp:txXfrm>
    </dsp:sp>
    <dsp:sp modelId="{B0DB50FA-B015-4004-9B1E-EED8D5095F6D}">
      <dsp:nvSpPr>
        <dsp:cNvPr id="0" name=""/>
        <dsp:cNvSpPr/>
      </dsp:nvSpPr>
      <dsp:spPr>
        <a:xfrm rot="16200000">
          <a:off x="-209954" y="209954"/>
          <a:ext cx="2446235" cy="2026325"/>
        </a:xfrm>
        <a:prstGeom prst="downArrow">
          <a:avLst>
            <a:gd name="adj1" fmla="val 50000"/>
            <a:gd name="adj2" fmla="val 35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IN" sz="1300" kern="1200" dirty="0"/>
            <a:t>📡 </a:t>
          </a:r>
          <a:r>
            <a:rPr lang="en-IN" sz="1300" b="1" kern="1200" dirty="0"/>
            <a:t>5G Connectivity:</a:t>
          </a:r>
          <a:r>
            <a:rPr lang="en-IN" sz="1300" kern="1200" dirty="0"/>
            <a:t> Ensure real-time data flow and OTA updates</a:t>
          </a:r>
          <a:endParaRPr lang="en-US" sz="1300" kern="1200" dirty="0"/>
        </a:p>
      </dsp:txBody>
      <dsp:txXfrm rot="5400000">
        <a:off x="2" y="611557"/>
        <a:ext cx="1671718" cy="122311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30/06/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30/06/2025</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everyone good morning, my name is Akhila Vulluri, and today I’ll be walking you through the exciting world of digital twin technology in the automotive sector. This is a concept that’s transforming how vehicles are designed, tested, manufactured, and even maintained. Let's explore what it means, how it works, and why it's important for the future of mobility.</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1761112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we have sensor data, we need a secure and reliable way to send it to the digital twin. This is where protocols like CAN bus, cloud platforms, and IoT frameworks come in. This layer ensures that what happens in the real world is instantly reflected in the virtual model."</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638518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ere the magic really happens. The real-time and historical data collected is analyzed using AI and machine learning algorithms. These tools can detect patterns, predict failures, and even suggest optimizations. For example, they might recognize a decline in motor performance long before it becomes a problem."</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29289129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the data and analysis need to be presented in a way that engineers and managers can understand and act on. Visualization tools do exactly that—through dashboards, 3D models, and performance charts. These tools help us simulate scenarios, view alerts, and make quick decisions based on clear insight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609620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digital twin isn’t just passive—it can act. This feedback mechanism allows the twin to send control commands back to the physical system. For example, if the simulation detects overheating, the system can trigger cooling in real-time. This kind of closed-loop control makes systems smarter and more efficient."</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772139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all this real-time data exchange, security is critical. This layer ensures encryption, access control, and compliance with standards like GDPR or ISO 21434. It’s especially important in automotive, where connected systems and user data need to be protected against cyber threat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541457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gital twins can come in different forms, depending on what they represent. It could be a single component, a system, an entire process, or even a whole organization. Let’s go through each type to see how they're used in the automotive industry."</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794399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imes multiple types of digital twins exist in one system. For example, an electric vehicle might have a digital twin for its battery, its motor, and for the entire vehicle. Each type serves a different purpose, from part-level monitoring to high-level performance analysi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26298047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win focuses on a specific part—like a brake pad or fuel injector. It’s useful for monitoring wear and tear and predicting when a part needs maintenance or replacement. It’s a small-scale model with a big impact on reliability and safety."</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22206186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asset twin is a bit bigger—it represents a subsystem like a transmission or an electric motor. It helps track the health and performance of the system over time and can provide insights that lead to efficiency improvements or cost saving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9373094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one captures the behavior of a full system, such as the drivetrain or ADAS (Advanced Driver Assistance System). It enables system-level diagnostics and performance tuning, helping engineers make the entire vehicle smarter and safer."</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2784661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Here’s a quick look at what we’ll cover today. We’ll start with a basic introduction to digital twins, then dive into their key components and types. We’ll explore how they’re applied in the automotive world, the technologies that enable them, real-world examples, and of course, the benefits and challenges. Finally, we’ll wrap up with the future outlook and a summary.</a:t>
            </a: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5870467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process twin focuses not on the vehicle but on how it’s built. It simulates the manufacturing process—like an assembly line or a paint shop. It helps identify bottlenecks, reduce cycle time, and improve the overall production efficiency."</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207278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broadest type of digital twin—it represents an entire network, such as a supply chain or a global production system. It helps companies make big-picture decisions, like optimizing logistics across plants or responding quickly in the supply chain."</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13907502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look at how digital twins are applied in real automotive </a:t>
            </a:r>
            <a:r>
              <a:rPr lang="en-US" dirty="0" err="1"/>
              <a:t>indudtry</a:t>
            </a:r>
            <a:r>
              <a:rPr lang="en-US" dirty="0"/>
              <a:t>. From vehicle design to predictive maintenance, these applications are revolutionizing how OEMs operate. The value isn’t just technical—it’s strategic, enhancing quality, efficiency</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30446344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product development, digital twins allow engineers to virtually test new designs before ever building a prototype. They can simulate different materials, structures, or configurations to optimize for performance, safety, and cost—saving months of trial and error."</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612631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factory, digital twins simulate production lines, helping improve layout and workflow. They can identify inefficiencies, test new configurations, and even predict machine failures—leading to higher productivity and less downtime."</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23294541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ead of relying only on physical testing, digital twins allow us to virtually test and calibrate vehicle systems. This includes things like suspension tuning, brake response, and power delivery—under various simulated environments and driving condition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25743135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most practical applications—predictive maintenance—lets us foresee when a component is about to fail. Instead of fixing things after they break, digital twins help schedule maintenance in advance, reducing breakdowns and repair cost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34103077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hing to explain</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33938239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alk about the technologies that make digital twins possible—things like cloud computing, AI, IoT sensors, and edge computing. These are the building blocks that allow us to gather, transmit, process, and act on data in real time."</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4642074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highlights one of the biggest values digital twins bring to the table: better research and development. Since the digital model captures real-world data and simulates performance virtually, engineers can test and refine products before anything is physically built. This leads to faster design cycles,  physical prototypes, and more confidence in the product’s performance before launch. It ultimately reduces cost and risk in the development proces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2338842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So what exactly is a digital twin? Simply put, it’s a digital version of a physical object—like a vehicle or its parts—that helps us simulate, monitor, and optimize its performance. It continuously updates using real-time data from sensors, and with the help of AI, it can predict failures, improve design, and enhance overall efficiency</a:t>
            </a:r>
            <a:endParaRPr lang="en-IN" sz="800"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9685216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now look at how real companies are using digital twin technology in the automotive world. </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42470944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tart with Tesla. Every Tesla car has its own digital twin, which receives live updates and feedback from the physical car. This allows them to send over-the-air updates, fix bugs remotely, and improve performance—all without the car visiting a service center.</a:t>
            </a:r>
            <a:br>
              <a:rPr lang="en-US" dirty="0"/>
            </a:br>
            <a:r>
              <a:rPr lang="en-US" dirty="0"/>
              <a:t>Now, BMW uses digital twins in their smart factories. They simulate entire production lines, test them virtually, and identify issues before they happen—this reduces downtime, enhances quality, and cuts operational cost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1</a:t>
            </a:fld>
            <a:endParaRPr lang="pt-BR"/>
          </a:p>
        </p:txBody>
      </p:sp>
    </p:spTree>
    <p:extLst>
      <p:ext uri="{BB962C8B-B14F-4D97-AF65-F5344CB8AC3E}">
        <p14:creationId xmlns:p14="http://schemas.microsoft.com/office/powerpoint/2010/main" val="38853903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olkswagen and Volvo, uses digital twins mainly for predictive maintenance. Their vehicles send real-time data to the cloud, and machine learning models analyze that data to predict when parts might fail. This means surprise breakdown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2</a:t>
            </a:fld>
            <a:endParaRPr lang="pt-BR"/>
          </a:p>
        </p:txBody>
      </p:sp>
    </p:spTree>
    <p:extLst>
      <p:ext uri="{BB962C8B-B14F-4D97-AF65-F5344CB8AC3E}">
        <p14:creationId xmlns:p14="http://schemas.microsoft.com/office/powerpoint/2010/main" val="15521678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focus on the overall benefits of digital twins in automotive. </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25707120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we have faster development and lower costs—thanks to simulation and  prototypes.</a:t>
            </a:r>
            <a:br>
              <a:rPr lang="en-US" dirty="0"/>
            </a:br>
            <a:r>
              <a:rPr lang="en-US" dirty="0"/>
              <a:t>Second, we gain better safety and reliability from real-time diagnostics and predictive analytics.</a:t>
            </a:r>
            <a:br>
              <a:rPr lang="en-US" dirty="0"/>
            </a:br>
            <a:r>
              <a:rPr lang="en-US" dirty="0"/>
              <a:t>Third, they help optimize manufacturing by reducing downtime and improving workflows.</a:t>
            </a:r>
            <a:br>
              <a:rPr lang="en-US" dirty="0"/>
            </a:br>
            <a:r>
              <a:rPr lang="en-US" dirty="0"/>
              <a:t>And finally, the customer experience improves with features like predictive service alerts and OTA updates, keeping vehicles safer and more personalized."</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4</a:t>
            </a:fld>
            <a:endParaRPr lang="pt-BR"/>
          </a:p>
        </p:txBody>
      </p:sp>
    </p:spTree>
    <p:extLst>
      <p:ext uri="{BB962C8B-B14F-4D97-AF65-F5344CB8AC3E}">
        <p14:creationId xmlns:p14="http://schemas.microsoft.com/office/powerpoint/2010/main" val="26976601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it’s not all easy. Like any advanced technology, digital twins come with challenges 2. </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34856567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integration is tough—it requires syncing hardware, software, and data systems across a vehicle’s lifecycle.</a:t>
            </a:r>
            <a:br>
              <a:rPr lang="en-US" dirty="0"/>
            </a:br>
            <a:r>
              <a:rPr lang="en-US" dirty="0"/>
              <a:t>Next, there are cybersecurity concerns, as real-time data can be a target for hackers.</a:t>
            </a:r>
            <a:br>
              <a:rPr lang="en-US" dirty="0"/>
            </a:br>
            <a:r>
              <a:rPr lang="en-US" dirty="0"/>
              <a:t>Third, the initial investment in infrastructure, software, and cloud platforms is significant.</a:t>
            </a:r>
            <a:br>
              <a:rPr lang="en-US" dirty="0"/>
            </a:br>
            <a:r>
              <a:rPr lang="en-US" dirty="0"/>
              <a:t>And finally, you need a highly skilled workforce—people who understand AI, simulation, automotive systems, and data science."</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6</a:t>
            </a:fld>
            <a:endParaRPr lang="pt-BR"/>
          </a:p>
        </p:txBody>
      </p:sp>
    </p:spTree>
    <p:extLst>
      <p:ext uri="{BB962C8B-B14F-4D97-AF65-F5344CB8AC3E}">
        <p14:creationId xmlns:p14="http://schemas.microsoft.com/office/powerpoint/2010/main" val="37946467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ing ahead, digital twins will be a foundation for next-gen vehicles. </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7</a:t>
            </a:fld>
            <a:endParaRPr lang="pt-BR"/>
          </a:p>
        </p:txBody>
      </p:sp>
    </p:spTree>
    <p:extLst>
      <p:ext uri="{BB962C8B-B14F-4D97-AF65-F5344CB8AC3E}">
        <p14:creationId xmlns:p14="http://schemas.microsoft.com/office/powerpoint/2010/main" val="24731260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uture is exciting. With AI and edge computing, digital twins will be smarter and more responsive than ever. They’ll enable vehicles to self-monitor, self-diagnose, and even self-improve. This means more efficient mobility, fewer failures, and safer roads."</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8</a:t>
            </a:fld>
            <a:endParaRPr lang="pt-BR"/>
          </a:p>
        </p:txBody>
      </p:sp>
    </p:spTree>
    <p:extLst>
      <p:ext uri="{BB962C8B-B14F-4D97-AF65-F5344CB8AC3E}">
        <p14:creationId xmlns:p14="http://schemas.microsoft.com/office/powerpoint/2010/main" val="6135968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wrap up, digital twin technology is truly transforming the automotive world. From design and testing to maintenance and customer service—it touches every part of the vehicle lifecycle. As this tech matures, it will continue driving smarter, safer, and more sustainable mobility solutions."</a:t>
            </a:r>
          </a:p>
          <a:p>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9</a:t>
            </a:fld>
            <a:endParaRPr lang="pt-BR"/>
          </a:p>
        </p:txBody>
      </p:sp>
    </p:spTree>
    <p:extLst>
      <p:ext uri="{BB962C8B-B14F-4D97-AF65-F5344CB8AC3E}">
        <p14:creationId xmlns:p14="http://schemas.microsoft.com/office/powerpoint/2010/main" val="1428317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break down how it functions. Think of a vehicle loaded with sensors collecting live data—temperature, torque, battery charge, even how a person drives. This data is sent to a digital platform, where a virtual copy of that vehicle simulates how it behaves under different conditions. This lets engineers run tests, predict failures, and make improvements without touching the real vehicle.</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260546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a recap: Digital twins bridge the physical and digital world, empowering better decisions, faster innovation, and personalized experiences. As vehicles get more connected and autonomous, digital twins will be essential—not optional."</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0</a:t>
            </a:fld>
            <a:endParaRPr lang="pt-BR"/>
          </a:p>
        </p:txBody>
      </p:sp>
    </p:spTree>
    <p:extLst>
      <p:ext uri="{BB962C8B-B14F-4D97-AF65-F5344CB8AC3E}">
        <p14:creationId xmlns:p14="http://schemas.microsoft.com/office/powerpoint/2010/main" val="9135100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a:effectLst/>
                <a:latin typeface="-apple-system"/>
              </a:rPr>
              <a:t>"Thank you all for your time and attention. I hope this presentation gave you a clear understanding of how digital twin technology is shaping the future of the automotive industry.</a:t>
            </a:r>
          </a:p>
          <a:p>
            <a:pPr>
              <a:buNone/>
            </a:pPr>
            <a:r>
              <a:rPr lang="en-US" dirty="0">
                <a:effectLst/>
                <a:latin typeface="-apple-system"/>
              </a:rPr>
              <a:t> </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1</a:t>
            </a:fld>
            <a:endParaRPr lang="pt-BR"/>
          </a:p>
        </p:txBody>
      </p:sp>
    </p:spTree>
    <p:extLst>
      <p:ext uri="{BB962C8B-B14F-4D97-AF65-F5344CB8AC3E}">
        <p14:creationId xmlns:p14="http://schemas.microsoft.com/office/powerpoint/2010/main" val="5546524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erm 'digital twin' might sound new, but the concept dates back to the 1990s. It gained traction in aerospace and later in manufacturing. NASA used digital twin concepts for space missions. In the 2000s, it was formalized, and now, industries like automotive are fully embracing it as a tool for smarter operations and predictive insight</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1702680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digital twin system is built from a few critical components: the real-world object, its virtual counterpart, and the data that connects them. But there’s more to it—like how data is transmitted, how insights are generated, and how visualizations and feedback loops work together. Let’s break down each part.</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2601987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This is the real product—like a car, a battery, or a braking system.   </a:t>
            </a:r>
            <a:r>
              <a:rPr lang="en-US" dirty="0"/>
              <a:t>The digital twin mirrors this physical object. In automotive  a battery, or a braking system of a car that we want to monitor for comfort and performance."</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05455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igital model is the virtual representation of that real object. Built using CAD tools and real-world data, this model can simulate behavior under different conditions. For example, it can tell us how a vehicle’s battery performs in extreme heat or how its drivetrain reacts to sudden acceleration."</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874980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is the lifeline of a digital twin. Sensors in the vehicle collect mechanical, electrical, and even user behavior data. These inputs give the twin its ‘awareness’ of how the physical system is performing, letting it react and adapt in real time."</a:t>
            </a:r>
            <a:endParaRPr lang="en-IN"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1933202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hyperlink" Target="http://www.linkedin.com/company/capgemini" TargetMode="Externa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hyperlink" Target="http://www.facebook.com/capgemini" TargetMode="External"/><Relationship Id="rId7" Type="http://schemas.openxmlformats.org/officeDocument/2006/relationships/image" Target="../media/image11.png"/><Relationship Id="rId12" Type="http://schemas.openxmlformats.org/officeDocument/2006/relationships/hyperlink" Target="http://www.youtube.com/capgeminimedia"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Amasis MT Pro" panose="02040504050005020304" pitchFamily="18" charset="0"/>
              </a:defRPr>
            </a:lvl1pPr>
          </a:lstStyle>
          <a:p>
            <a:r>
              <a:rPr lang="en-US" dirty="0"/>
              <a:t>Click to edit Master title style</a:t>
            </a:r>
            <a:endParaRPr lang="en-GB" dirty="0"/>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Amasis MT Pro" panose="02040504050005020304" pitchFamily="18" charset="0"/>
              </a:defRPr>
            </a:lvl1pPr>
          </a:lstStyle>
          <a:p>
            <a:r>
              <a:rPr lang="fr-FR" dirty="0"/>
              <a:t>Modifiez le style du titre</a:t>
            </a:r>
            <a:endParaRPr lang="en-GB" dirty="0"/>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Amasis MT Pro" panose="02040504050005020304" pitchFamily="18" charset="0"/>
              </a:defRPr>
            </a:lvl1pPr>
          </a:lstStyle>
          <a:p>
            <a:r>
              <a:rPr lang="fr-FR" dirty="0"/>
              <a:t>Modifiez le style du titre</a:t>
            </a:r>
            <a:endParaRPr lang="en-GB" dirty="0"/>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Amasis MT Pro" panose="02040504050005020304" pitchFamily="18" charset="0"/>
              </a:defRPr>
            </a:lvl1pPr>
          </a:lstStyle>
          <a:p>
            <a:r>
              <a:rPr lang="en-US" dirty="0"/>
              <a:t>Click to edit Master title style</a:t>
            </a:r>
            <a:endParaRPr lang="en-GB" dirty="0"/>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05506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dirty="0"/>
              <a:t>Click to edit Agenda</a:t>
            </a:r>
            <a:endParaRPr lang="en-GB" dirty="0"/>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793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Amasis MT Pro" panose="02040504050005020304" pitchFamily="18" charset="0"/>
              </a:defRPr>
            </a:lvl1pPr>
          </a:lstStyle>
          <a:p>
            <a:r>
              <a:rPr lang="en-US" dirty="0"/>
              <a:t>Click to edit Master title style</a:t>
            </a:r>
            <a:endParaRPr lang="en-GB" dirty="0"/>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Image 3">
            <a:extLst>
              <a:ext uri="{FF2B5EF4-FFF2-40B4-BE49-F238E27FC236}">
                <a16:creationId xmlns:a16="http://schemas.microsoft.com/office/drawing/2014/main" id="{635BD2C3-1CF1-2C4D-754E-091C3266BE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7025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9055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58079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5924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17014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5666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Amasis MT Pro" panose="02040504050005020304" pitchFamily="18" charset="0"/>
              </a:defRPr>
            </a:lvl1pPr>
          </a:lstStyle>
          <a:p>
            <a:r>
              <a:rPr lang="en-US" dirty="0"/>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51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en-US"/>
              <a:t>Click to edit Master title style</a:t>
            </a:r>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en-US"/>
              <a:t>Click to edit Master title style</a:t>
            </a:r>
          </a:p>
        </p:txBody>
      </p:sp>
    </p:spTree>
    <p:extLst>
      <p:ext uri="{BB962C8B-B14F-4D97-AF65-F5344CB8AC3E}">
        <p14:creationId xmlns:p14="http://schemas.microsoft.com/office/powerpoint/2010/main" val="239972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03174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91407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97981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89898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kumimoji="0" lang="en-GB" sz="2800" b="1" i="0" u="none" strike="noStrike" kern="1200" cap="none" spc="0" normalizeH="0" baseline="0" noProof="0" dirty="0">
                <a:ln>
                  <a:noFill/>
                </a:ln>
                <a:solidFill>
                  <a:schemeClr val="tx1"/>
                </a:solidFill>
                <a:effectLst/>
                <a:uLnTx/>
                <a:uFillTx/>
                <a:latin typeface="Amasis MT Pro" panose="02040504050005020304" pitchFamily="18" charset="0"/>
                <a:ea typeface="+mj-ea"/>
                <a:cs typeface="+mj-cs"/>
              </a:defRPr>
            </a:lvl1pPr>
          </a:lstStyle>
          <a:p>
            <a:r>
              <a:rPr lang="en-US" dirty="0"/>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en-US"/>
              <a:t>Click to edit Master title style</a:t>
            </a:r>
            <a:endParaRPr lang="de-DE" dirty="0"/>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2970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80717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62894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3788305"/>
            <a:ext cx="11356975" cy="747897"/>
          </a:xfrm>
          <a:prstGeom prst="rect">
            <a:avLst/>
          </a:prstGeom>
        </p:spPr>
        <p:txBody>
          <a:bodyPr wrap="square" anchor="b" anchorCtr="0">
            <a:spAutoFit/>
          </a:bodyPr>
          <a:lstStyle>
            <a:lvl1pPr marL="0" indent="0" algn="l">
              <a:lnSpc>
                <a:spcPct val="90000"/>
              </a:lnSpc>
              <a:spcBef>
                <a:spcPts val="0"/>
              </a:spcBef>
              <a:spcAft>
                <a:spcPts val="0"/>
              </a:spcAft>
              <a:buFontTx/>
              <a:buNone/>
              <a:defRPr sz="5400" b="0" cap="none" baseline="0">
                <a:solidFill>
                  <a:schemeClr val="bg1"/>
                </a:solidFill>
                <a:latin typeface="Amasis MT Pro" panose="02040504050005020304" pitchFamily="18"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3054258"/>
            <a:ext cx="11356975" cy="747897"/>
          </a:xfrm>
          <a:prstGeom prst="rect">
            <a:avLst/>
          </a:prstGeom>
        </p:spPr>
        <p:txBody>
          <a:bodyPr wrap="square" anchor="ctr" anchorCtr="0">
            <a:spAutoFit/>
          </a:bodyPr>
          <a:lstStyle>
            <a:lvl1pPr marL="0" indent="0" algn="l">
              <a:lnSpc>
                <a:spcPct val="90000"/>
              </a:lnSpc>
              <a:spcBef>
                <a:spcPts val="0"/>
              </a:spcBef>
              <a:spcAft>
                <a:spcPts val="0"/>
              </a:spcAft>
              <a:buFontTx/>
              <a:buNone/>
              <a:defRPr sz="5400" b="0" cap="none" baseline="0">
                <a:solidFill>
                  <a:schemeClr val="bg1"/>
                </a:solidFill>
                <a:latin typeface="Amasis MT Pro" panose="02040504050005020304" pitchFamily="18"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3788305"/>
            <a:ext cx="11356975" cy="747897"/>
          </a:xfrm>
          <a:prstGeom prst="rect">
            <a:avLst/>
          </a:prstGeom>
        </p:spPr>
        <p:txBody>
          <a:bodyPr wrap="square" anchor="b" anchorCtr="0">
            <a:spAutoFit/>
          </a:bodyPr>
          <a:lstStyle>
            <a:lvl1pPr marL="0" indent="0" algn="l">
              <a:lnSpc>
                <a:spcPct val="90000"/>
              </a:lnSpc>
              <a:spcBef>
                <a:spcPts val="0"/>
              </a:spcBef>
              <a:spcAft>
                <a:spcPts val="0"/>
              </a:spcAft>
              <a:buFontTx/>
              <a:buNone/>
              <a:defRPr sz="5400" b="0" cap="none" baseline="0">
                <a:solidFill>
                  <a:schemeClr val="bg1"/>
                </a:solidFill>
                <a:latin typeface="Amasis MT Pro" panose="02040504050005020304" pitchFamily="18"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306059"/>
            <a:ext cx="4609034" cy="2243691"/>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Amasis MT Pro" panose="02040504050005020304" pitchFamily="18" charset="0"/>
              </a:defRPr>
            </a:lvl1pPr>
          </a:lstStyle>
          <a:p>
            <a:r>
              <a:rPr lang="en-US" dirty="0"/>
              <a:t>Click to edit Master title style</a:t>
            </a:r>
            <a:endParaRPr lang="en-GB" dirty="0"/>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dirty="0"/>
              <a:t>Modifiez le style du titre</a:t>
            </a:r>
            <a:endParaRPr lang="en-GB" dirty="0"/>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dirty="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200" r:id="rId17"/>
    <p:sldLayoutId id="2147484194" r:id="rId18"/>
    <p:sldLayoutId id="2147484159"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95" r:id="rId34"/>
    <p:sldLayoutId id="2147484144" r:id="rId35"/>
    <p:sldLayoutId id="2147484197" r:id="rId36"/>
    <p:sldLayoutId id="2147484139" r:id="rId37"/>
    <p:sldLayoutId id="2147484140" r:id="rId38"/>
    <p:sldLayoutId id="2147484141" r:id="rId39"/>
    <p:sldLayoutId id="2147484142" r:id="rId40"/>
    <p:sldLayoutId id="2147484143" r:id="rId41"/>
    <p:sldLayoutId id="2147484145" r:id="rId42"/>
    <p:sldLayoutId id="2147484156" r:id="rId43"/>
    <p:sldLayoutId id="2147484201" r:id="rId44"/>
    <p:sldLayoutId id="2147484160"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1" i="0" u="none" strike="noStrike" kern="1200" cap="none" spc="0" normalizeH="0" baseline="0" noProof="0" dirty="0">
          <a:ln>
            <a:noFill/>
          </a:ln>
          <a:solidFill>
            <a:schemeClr val="tx1"/>
          </a:solidFill>
          <a:effectLst/>
          <a:uLnTx/>
          <a:uFillTx/>
          <a:latin typeface="Amasis MT Pro" panose="02040504050005020304" pitchFamily="18" charset="0"/>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5.jpg"/></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33.xml"/><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arget="../media/image33.jpeg" Type="http://schemas.openxmlformats.org/officeDocument/2006/relationships/image"/><Relationship Id="rId2" Target="../notesSlides/notesSlide15.xml" Type="http://schemas.openxmlformats.org/officeDocument/2006/relationships/notesSlide"/><Relationship Id="rId1" Target="../slideLayouts/slideLayout2.xml" Type="http://schemas.openxmlformats.org/officeDocument/2006/relationships/slideLayout"/></Relationships>
</file>

<file path=ppt/slides/_rels/slide16.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arget="../media/image40.jpeg" Type="http://schemas.openxmlformats.org/officeDocument/2006/relationships/image"/><Relationship Id="rId3" Target="../diagrams/data1.xml" Type="http://schemas.openxmlformats.org/officeDocument/2006/relationships/diagramData"/><Relationship Id="rId7" Target="../diagrams/drawing1.xml" Type="http://schemas.microsoft.com/office/2007/relationships/diagramDrawing"/><Relationship Id="rId2" Target="../notesSlides/notesSlide23.xml" Type="http://schemas.openxmlformats.org/officeDocument/2006/relationships/notesSlide"/><Relationship Id="rId1" Target="../slideLayouts/slideLayout22.xml" Type="http://schemas.openxmlformats.org/officeDocument/2006/relationships/slideLayout"/><Relationship Id="rId6" Target="../diagrams/colors1.xml" Type="http://schemas.openxmlformats.org/officeDocument/2006/relationships/diagramColors"/><Relationship Id="rId5" Target="../diagrams/quickStyle1.xml" Type="http://schemas.openxmlformats.org/officeDocument/2006/relationships/diagramQuickStyle"/><Relationship Id="rId4" Target="../diagrams/layout1.xml" Type="http://schemas.openxmlformats.org/officeDocument/2006/relationships/diagramLayout"/></Relationships>
</file>

<file path=ppt/slides/_rels/slide24.xml.rels><?xml version="1.0" encoding="UTF-8" standalone="yes" ?><Relationships xmlns="http://schemas.openxmlformats.org/package/2006/relationships"><Relationship Id="rId8" Target="../media/image41.jpeg" Type="http://schemas.openxmlformats.org/officeDocument/2006/relationships/image"/><Relationship Id="rId3" Target="../diagrams/data2.xml" Type="http://schemas.openxmlformats.org/officeDocument/2006/relationships/diagramData"/><Relationship Id="rId7" Target="../diagrams/drawing2.xml" Type="http://schemas.microsoft.com/office/2007/relationships/diagramDrawing"/><Relationship Id="rId2" Target="../notesSlides/notesSlide24.xml" Type="http://schemas.openxmlformats.org/officeDocument/2006/relationships/notesSlide"/><Relationship Id="rId1" Target="../slideLayouts/slideLayout26.xml" Type="http://schemas.openxmlformats.org/officeDocument/2006/relationships/slideLayout"/><Relationship Id="rId6" Target="../diagrams/colors2.xml" Type="http://schemas.openxmlformats.org/officeDocument/2006/relationships/diagramColors"/><Relationship Id="rId5" Target="../diagrams/quickStyle2.xml" Type="http://schemas.openxmlformats.org/officeDocument/2006/relationships/diagramQuickStyle"/><Relationship Id="rId4" Target="../diagrams/layout2.xml" Type="http://schemas.openxmlformats.org/officeDocument/2006/relationships/diagramLayout"/></Relationships>
</file>

<file path=ppt/slides/_rels/slide25.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6.xml.rels><?xml version="1.0" encoding="UTF-8" standalone="yes" ?><Relationships xmlns="http://schemas.openxmlformats.org/package/2006/relationships"><Relationship Id="rId8" Target="../media/image49.jpeg" Type="http://schemas.openxmlformats.org/officeDocument/2006/relationships/image"/><Relationship Id="rId3" Target="../diagrams/data4.xml" Type="http://schemas.openxmlformats.org/officeDocument/2006/relationships/diagramData"/><Relationship Id="rId7" Target="../diagrams/drawing4.xml" Type="http://schemas.microsoft.com/office/2007/relationships/diagramDrawing"/><Relationship Id="rId2" Target="../notesSlides/notesSlide26.xml" Type="http://schemas.openxmlformats.org/officeDocument/2006/relationships/notesSlide"/><Relationship Id="rId1" Target="../slideLayouts/slideLayout22.xml" Type="http://schemas.openxmlformats.org/officeDocument/2006/relationships/slideLayout"/><Relationship Id="rId6" Target="../diagrams/colors4.xml" Type="http://schemas.openxmlformats.org/officeDocument/2006/relationships/diagramColors"/><Relationship Id="rId5" Target="../diagrams/quickStyle4.xml" Type="http://schemas.openxmlformats.org/officeDocument/2006/relationships/diagramQuickStyle"/><Relationship Id="rId4" Target="../diagrams/layout4.xml" Type="http://schemas.openxmlformats.org/officeDocument/2006/relationships/diagramLayout"/></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arget="../media/image50.jpeg" Type="http://schemas.openxmlformats.org/officeDocument/2006/relationships/image"/><Relationship Id="rId3" Target="../diagrams/data5.xml" Type="http://schemas.openxmlformats.org/officeDocument/2006/relationships/diagramData"/><Relationship Id="rId7" Target="../diagrams/drawing5.xml" Type="http://schemas.microsoft.com/office/2007/relationships/diagramDrawing"/><Relationship Id="rId12" Target="../media/image54.jpeg" Type="http://schemas.openxmlformats.org/officeDocument/2006/relationships/image"/><Relationship Id="rId2" Target="../notesSlides/notesSlide28.xml" Type="http://schemas.openxmlformats.org/officeDocument/2006/relationships/notesSlide"/><Relationship Id="rId1" Target="../slideLayouts/slideLayout26.xml" Type="http://schemas.openxmlformats.org/officeDocument/2006/relationships/slideLayout"/><Relationship Id="rId6" Target="../diagrams/colors5.xml" Type="http://schemas.openxmlformats.org/officeDocument/2006/relationships/diagramColors"/><Relationship Id="rId11" Target="../media/image53.jpeg" Type="http://schemas.openxmlformats.org/officeDocument/2006/relationships/image"/><Relationship Id="rId5" Target="../diagrams/quickStyle5.xml" Type="http://schemas.openxmlformats.org/officeDocument/2006/relationships/diagramQuickStyle"/><Relationship Id="rId10" Target="../media/image52.jpeg" Type="http://schemas.openxmlformats.org/officeDocument/2006/relationships/image"/><Relationship Id="rId4" Target="../diagrams/layout5.xml" Type="http://schemas.openxmlformats.org/officeDocument/2006/relationships/diagramLayout"/><Relationship Id="rId9" Target="../media/image51.jpeg" Type="http://schemas.openxmlformats.org/officeDocument/2006/relationships/image"/></Relationships>
</file>

<file path=ppt/slides/_rels/slide29.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3" Target="../media/image57.jpeg" Type="http://schemas.openxmlformats.org/officeDocument/2006/relationships/image"/><Relationship Id="rId2" Target="../notesSlides/notesSlide32.xml" Type="http://schemas.openxmlformats.org/officeDocument/2006/relationships/notesSlide"/><Relationship Id="rId1" Target="../slideLayouts/slideLayout33.xml" Type="http://schemas.openxmlformats.org/officeDocument/2006/relationships/slideLayout"/></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4.xm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6.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8.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3" Target="../media/image61.jpeg" Type="http://schemas.openxmlformats.org/officeDocument/2006/relationships/image"/><Relationship Id="rId2" Target="../notesSlides/notesSlide40.xml" Type="http://schemas.openxmlformats.org/officeDocument/2006/relationships/notesSlide"/><Relationship Id="rId1" Target="../slideLayouts/slideLayout33.xml" Type="http://schemas.openxmlformats.org/officeDocument/2006/relationships/slideLayout"/></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1.xml"/><Relationship Id="rId1" Type="http://schemas.openxmlformats.org/officeDocument/2006/relationships/slideLayout" Target="../slideLayouts/slideLayout27.xml"/><Relationship Id="rId5" Type="http://schemas.openxmlformats.org/officeDocument/2006/relationships/image" Target="../media/image63.pn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20.jpe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22.jpeg"/></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33.xml"/><Relationship Id="rId4" Type="http://schemas.openxmlformats.org/officeDocument/2006/relationships/image" Target="../media/image26.jpeg"/></Relationships>
</file>

<file path=ppt/slides/slide1.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AB398E5-0640-DCAA-A791-2D7104B71006}"/>
              </a:ext>
              <a:ext uri="{C183D7F6-B498-43B3-948B-1728B52AA6E4}">
                <adec:decorative xmlns:adec="http://schemas.microsoft.com/office/drawing/2017/decorative" val="1"/>
              </a:ext>
            </a:extLst>
          </p:cNvPr>
          <p:cNvPicPr>
            <a:picLocks noChangeAspect="1"/>
          </p:cNvPicPr>
          <p:nvPr/>
        </p:nvPicPr>
        <p:blipFill>
          <a:blip cstate="screen" r:embed="rId3">
            <a:extLst>
              <a:ext uri="{28A0092B-C50C-407E-A947-70E740481C1C}">
                <a14:useLocalDpi xmlns:a14="http://schemas.microsoft.com/office/drawing/2010/main"/>
              </a:ext>
            </a:extLst>
          </a:blip>
          <a:stretch>
            <a:fillRect/>
          </a:stretch>
        </p:blipFill>
        <p:spPr>
          <a:xfrm>
            <a:off x="-1824880" y="2660979"/>
            <a:ext cx="11043683" cy="4296413"/>
          </a:xfrm>
          <a:prstGeom prst="rect">
            <a:avLst/>
          </a:prstGeom>
        </p:spPr>
      </p:pic>
      <p:sp>
        <p:nvSpPr>
          <p:cNvPr id="5" name="Titre 4">
            <a:extLst>
              <a:ext uri="{FF2B5EF4-FFF2-40B4-BE49-F238E27FC236}">
                <a16:creationId xmlns:a16="http://schemas.microsoft.com/office/drawing/2014/main" id="{417AA630-C3BE-9264-E679-C00614D68506}"/>
              </a:ext>
            </a:extLst>
          </p:cNvPr>
          <p:cNvSpPr>
            <a:spLocks noGrp="1"/>
          </p:cNvSpPr>
          <p:nvPr>
            <p:ph type="ctrTitle"/>
          </p:nvPr>
        </p:nvSpPr>
        <p:spPr/>
        <p:txBody>
          <a:bodyPr/>
          <a:lstStyle/>
          <a:p>
            <a:r>
              <a:rPr dirty="0" lang="en-US"/>
              <a:t> </a:t>
            </a:r>
            <a:r>
              <a:rPr b="1" dirty="0" i="1" lang="en-US">
                <a:latin charset="0" panose="02060602050505020204" pitchFamily="18" typeface="Lucida Fax"/>
              </a:rPr>
              <a:t>Digital Twin Technology in the Automotive Industry</a:t>
            </a:r>
          </a:p>
        </p:txBody>
      </p:sp>
      <p:sp>
        <p:nvSpPr>
          <p:cNvPr id="4" name="Sous-titre 3">
            <a:extLst>
              <a:ext uri="{FF2B5EF4-FFF2-40B4-BE49-F238E27FC236}">
                <a16:creationId xmlns:a16="http://schemas.microsoft.com/office/drawing/2014/main" id="{0A177A1A-8C70-65AE-8F14-7B6C7758F421}"/>
              </a:ext>
            </a:extLst>
          </p:cNvPr>
          <p:cNvSpPr>
            <a:spLocks noGrp="1"/>
          </p:cNvSpPr>
          <p:nvPr>
            <p:ph idx="1" type="subTitle"/>
          </p:nvPr>
        </p:nvSpPr>
        <p:spPr>
          <a:xfrm>
            <a:off x="1343473" y="5082209"/>
            <a:ext cx="10440540" cy="307777"/>
          </a:xfrm>
        </p:spPr>
        <p:txBody>
          <a:bodyPr/>
          <a:lstStyle/>
          <a:p>
            <a:r>
              <a:rPr b="1" dirty="0" i="1" lang="en-US" sz="2000"/>
              <a:t>Akhila Vulluri</a:t>
            </a:r>
          </a:p>
        </p:txBody>
      </p:sp>
      <p:sp>
        <p:nvSpPr>
          <p:cNvPr id="6" name="ZoneTexte 5">
            <a:extLst>
              <a:ext uri="{FF2B5EF4-FFF2-40B4-BE49-F238E27FC236}">
                <a16:creationId xmlns:a16="http://schemas.microsoft.com/office/drawing/2014/main" id="{2E07E6CF-482B-DD4F-0B5F-49975345C721}"/>
              </a:ext>
            </a:extLst>
          </p:cNvPr>
          <p:cNvSpPr txBox="1"/>
          <p:nvPr/>
        </p:nvSpPr>
        <p:spPr>
          <a:xfrm>
            <a:off x="9696400" y="6237312"/>
            <a:ext cx="2330715" cy="248402"/>
          </a:xfrm>
          <a:prstGeom prst="rect">
            <a:avLst/>
          </a:prstGeom>
          <a:noFill/>
        </p:spPr>
        <p:txBody>
          <a:bodyPr anchor="ctr" bIns="46800" lIns="90000" rIns="90000" rtlCol="0" tIns="46800" vert="horz" wrap="square">
            <a:spAutoFit/>
          </a:bodyPr>
          <a:lstStyle/>
          <a:p>
            <a:pPr algn="r">
              <a:spcBef>
                <a:spcPct val="0"/>
              </a:spcBef>
            </a:pPr>
            <a:r>
              <a:rPr dirty="0" lang="en-US" sz="1000">
                <a:solidFill>
                  <a:schemeClr val="bg2">
                    <a:lumMod val="75000"/>
                  </a:schemeClr>
                </a:solidFill>
              </a:rPr>
              <a:t>Company confidential</a:t>
            </a:r>
          </a:p>
        </p:txBody>
      </p:sp>
      <p:sp>
        <p:nvSpPr>
          <p:cNvPr descr="Understanding digital twin technology" id="2" name="AutoShape 2">
            <a:extLst>
              <a:ext uri="{FF2B5EF4-FFF2-40B4-BE49-F238E27FC236}">
                <a16:creationId xmlns:a16="http://schemas.microsoft.com/office/drawing/2014/main" id="{5CC69E25-A54A-E4AB-C4D8-ED9402112AA6}"/>
              </a:ext>
            </a:extLst>
          </p:cNvPr>
          <p:cNvSpPr>
            <a:spLocks noChangeArrowheads="1" noChangeAspect="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5720" compatLnSpc="1" lIns="91440" numCol="1" rIns="91440" tIns="45720" vert="horz" wrap="square">
            <a:prstTxWarp prst="textNoShape">
              <a:avLst/>
            </a:prstTxWarp>
          </a:bodyPr>
          <a:lstStyle/>
          <a:p>
            <a:endParaRPr lang="en-IN"/>
          </a:p>
        </p:txBody>
      </p:sp>
      <p:pic>
        <p:nvPicPr>
          <p:cNvPr descr="A finger touching a screen&#10;&#10;AI-generated content may be incorrect." id="20" name="Picture Placeholder 19">
            <a:extLst>
              <a:ext uri="{FF2B5EF4-FFF2-40B4-BE49-F238E27FC236}">
                <a16:creationId xmlns:a16="http://schemas.microsoft.com/office/drawing/2014/main" id="{3FEDCD04-B992-A4F0-8F96-CFB57C2BAE31}"/>
              </a:ext>
            </a:extLst>
          </p:cNvPr>
          <p:cNvPicPr>
            <a:picLocks noChangeAspect="1" noGrp="1"/>
          </p:cNvPicPr>
          <p:nvPr>
            <p:ph idx="10" sz="quarter" type="pic"/>
          </p:nvPr>
        </p:nvPicPr>
        <p:blipFill>
          <a:blip r:embed="rId4"/>
          <a:srcRect b="1104" t="1104"/>
          <a:stretch>
            <a:fillRect/>
          </a:stretch>
        </p:blipFill>
        <p:spPr>
          <a:xfrm>
            <a:off x="191344" y="169227"/>
            <a:ext cx="11835771" cy="2426189"/>
          </a:xfrm>
        </p:spPr>
      </p:pic>
    </p:spTree>
    <p:extLst>
      <p:ext uri="{BB962C8B-B14F-4D97-AF65-F5344CB8AC3E}">
        <p14:creationId xmlns:p14="http://schemas.microsoft.com/office/powerpoint/2010/main" val="4043674719"/>
      </p:ext>
    </p:extLst>
  </p:cSld>
  <p:clrMapOvr>
    <a:masterClrMapping/>
  </p:clrMapOvr>
</p:sld>
</file>

<file path=ppt/slides/slide10.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C46EC824-B60F-09FB-6FDD-C2F57AF092B5}"/>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C9BC159-2E8C-D401-3F73-EED65A37B0F3}"/>
              </a:ext>
            </a:extLst>
          </p:cNvPr>
          <p:cNvSpPr>
            <a:spLocks noGrp="1"/>
          </p:cNvSpPr>
          <p:nvPr>
            <p:ph idx="17" sz="quarter" type="body"/>
          </p:nvPr>
        </p:nvSpPr>
        <p:spPr/>
        <p:txBody>
          <a:bodyPr/>
          <a:lstStyle/>
          <a:p>
            <a:pPr>
              <a:buNone/>
            </a:pPr>
            <a:r>
              <a:rPr dirty="0" lang="en-US" sz="1800">
                <a:latin charset="0" panose="02040504050005020304" pitchFamily="18" typeface="Amasis MT Pro"/>
              </a:rPr>
              <a:t>This ensures secure and efficient transmission of sensor data from the vehicle to the digital twin, often using:</a:t>
            </a:r>
          </a:p>
          <a:p>
            <a:pPr>
              <a:buFont charset="0" panose="020B0604020202020204" pitchFamily="34" typeface="Arial"/>
              <a:buChar char="•"/>
            </a:pPr>
            <a:r>
              <a:rPr dirty="0" lang="en-US" sz="1800">
                <a:latin charset="0" panose="02040504050005020304" pitchFamily="18" typeface="Amasis MT Pro"/>
              </a:rPr>
              <a:t>CAN bus</a:t>
            </a:r>
          </a:p>
          <a:p>
            <a:pPr>
              <a:buFont charset="0" panose="020B0604020202020204" pitchFamily="34" typeface="Arial"/>
              <a:buChar char="•"/>
            </a:pPr>
            <a:r>
              <a:rPr dirty="0" lang="en-US" sz="1800">
                <a:latin charset="0" panose="02040504050005020304" pitchFamily="18" typeface="Amasis MT Pro"/>
              </a:rPr>
              <a:t>Telematics units</a:t>
            </a:r>
          </a:p>
          <a:p>
            <a:pPr>
              <a:buFont charset="0" panose="020B0604020202020204" pitchFamily="34" typeface="Arial"/>
              <a:buChar char="•"/>
            </a:pPr>
            <a:r>
              <a:rPr dirty="0" lang="en-US" sz="1800">
                <a:latin charset="0" panose="02040504050005020304" pitchFamily="18" typeface="Amasis MT Pro"/>
              </a:rPr>
              <a:t>IoT protocols like MQTT/CoAP</a:t>
            </a:r>
          </a:p>
          <a:p>
            <a:pPr>
              <a:buFont charset="0" panose="020B0604020202020204" pitchFamily="34" typeface="Arial"/>
              <a:buChar char="•"/>
            </a:pPr>
            <a:r>
              <a:rPr dirty="0" lang="en-US" sz="1800">
                <a:latin charset="0" panose="02040504050005020304" pitchFamily="18" typeface="Amasis MT Pro"/>
              </a:rPr>
              <a:t>Edge computing and cloud-based platforms</a:t>
            </a:r>
          </a:p>
          <a:p>
            <a:pPr>
              <a:buNone/>
            </a:pPr>
            <a:r>
              <a:rPr b="1" dirty="0" lang="en-US" sz="1800">
                <a:latin charset="0" panose="02040504050005020304" pitchFamily="18" typeface="Amasis MT Pro"/>
              </a:rPr>
              <a:t>Automotive Example</a:t>
            </a:r>
            <a:r>
              <a:rPr dirty="0" lang="en-US" sz="1800">
                <a:latin charset="0" panose="02040504050005020304" pitchFamily="18" typeface="Amasis MT Pro"/>
              </a:rPr>
              <a:t>: A modern passenger vehicle transmitting </a:t>
            </a:r>
            <a:r>
              <a:rPr b="1" dirty="0" lang="en-US" sz="1800">
                <a:latin charset="0" panose="02040504050005020304" pitchFamily="18" typeface="Amasis MT Pro"/>
              </a:rPr>
              <a:t>real-time ADAS sensor data</a:t>
            </a:r>
            <a:r>
              <a:rPr dirty="0" lang="en-US" sz="1800">
                <a:latin charset="0" panose="02040504050005020304" pitchFamily="18" typeface="Amasis MT Pro"/>
              </a:rPr>
              <a:t> (like camera and radar feeds) to a cloud-based digital twin for </a:t>
            </a:r>
            <a:r>
              <a:rPr b="1" dirty="0" lang="en-US" sz="1800">
                <a:latin charset="0" panose="02040504050005020304" pitchFamily="18" typeface="Amasis MT Pro"/>
              </a:rPr>
              <a:t>remote diagnostics and software optimization</a:t>
            </a:r>
            <a:r>
              <a:rPr dirty="0" lang="en-US" sz="1800">
                <a:latin charset="0" panose="02040504050005020304" pitchFamily="18" typeface="Amasis MT Pro"/>
              </a:rPr>
              <a:t>.</a:t>
            </a:r>
          </a:p>
          <a:p>
            <a:r>
              <a:rPr b="1" dirty="0" lang="en-US" sz="1800">
                <a:latin charset="0" panose="02040504050005020304" pitchFamily="18" typeface="Amasis MT Pro"/>
              </a:rPr>
              <a:t>Use Case</a:t>
            </a:r>
            <a:r>
              <a:rPr dirty="0" lang="en-US" sz="1800">
                <a:latin charset="0" panose="02040504050005020304" pitchFamily="18" typeface="Amasis MT Pro"/>
              </a:rPr>
              <a:t>: Enhancing the accuracy of lane-keeping and collision avoidance systems based on real-world driving data.</a:t>
            </a:r>
          </a:p>
          <a:p>
            <a:endParaRPr dirty="0" lang="en-IN" sz="1800">
              <a:latin charset="0" panose="02040504050005020304" pitchFamily="18" typeface="Amasis MT Pro"/>
            </a:endParaRPr>
          </a:p>
        </p:txBody>
      </p:sp>
      <p:sp>
        <p:nvSpPr>
          <p:cNvPr id="5" name="Title 4">
            <a:extLst>
              <a:ext uri="{FF2B5EF4-FFF2-40B4-BE49-F238E27FC236}">
                <a16:creationId xmlns:a16="http://schemas.microsoft.com/office/drawing/2014/main" id="{B18CEB59-79B3-94B3-B2A6-0769CA9B44B8}"/>
              </a:ext>
            </a:extLst>
          </p:cNvPr>
          <p:cNvSpPr>
            <a:spLocks noGrp="1"/>
          </p:cNvSpPr>
          <p:nvPr>
            <p:ph type="title"/>
          </p:nvPr>
        </p:nvSpPr>
        <p:spPr/>
        <p:txBody>
          <a:bodyPr/>
          <a:lstStyle/>
          <a:p>
            <a:r>
              <a:rPr dirty="0" lang="en-US"/>
              <a:t>4. </a:t>
            </a:r>
            <a:r>
              <a:rPr b="1" dirty="0" lang="en-US"/>
              <a:t>Data Integration and Communication Layer</a:t>
            </a:r>
            <a:endParaRPr dirty="0" lang="en-IN"/>
          </a:p>
        </p:txBody>
      </p:sp>
      <p:pic>
        <p:nvPicPr>
          <p:cNvPr descr="Mage media" id="15362" name="Picture 2">
            <a:extLst>
              <a:ext uri="{FF2B5EF4-FFF2-40B4-BE49-F238E27FC236}">
                <a16:creationId xmlns:a16="http://schemas.microsoft.com/office/drawing/2014/main" id="{A4A7FC5B-33D0-8BC4-9E7A-D762F349D720}"/>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1896496"/>
      </p:ext>
    </p:extLst>
  </p:cSld>
  <p:clrMapOvr>
    <a:masterClrMapping/>
  </p:clrMapOvr>
</p:sld>
</file>

<file path=ppt/slides/slide11.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1C0A6C1F-4F8F-1297-FD81-56E631C2FE4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B051E89-C969-5957-F6A9-BF2C64D61E69}"/>
              </a:ext>
            </a:extLst>
          </p:cNvPr>
          <p:cNvSpPr>
            <a:spLocks noGrp="1"/>
          </p:cNvSpPr>
          <p:nvPr>
            <p:ph idx="17" sz="quarter" type="body"/>
          </p:nvPr>
        </p:nvSpPr>
        <p:spPr/>
        <p:txBody>
          <a:bodyPr/>
          <a:lstStyle/>
          <a:p>
            <a:pPr>
              <a:buNone/>
            </a:pPr>
            <a:r>
              <a:rPr dirty="0" lang="en-US" sz="1800">
                <a:latin charset="0" panose="02040504050005020304" pitchFamily="18" typeface="Amasis MT Pro"/>
              </a:rPr>
              <a:t>Advanced data analytics platforms and machine learning algorithms analyze historical and real-time data to:</a:t>
            </a:r>
          </a:p>
          <a:p>
            <a:pPr>
              <a:buFont charset="0" panose="020B0604020202020204" pitchFamily="34" typeface="Arial"/>
              <a:buChar char="•"/>
            </a:pPr>
            <a:r>
              <a:rPr dirty="0" lang="en-US" sz="1800">
                <a:latin charset="0" panose="02040504050005020304" pitchFamily="18" typeface="Amasis MT Pro"/>
              </a:rPr>
              <a:t>Predict component failures</a:t>
            </a:r>
          </a:p>
          <a:p>
            <a:pPr>
              <a:buFont charset="0" panose="020B0604020202020204" pitchFamily="34" typeface="Arial"/>
              <a:buChar char="•"/>
            </a:pPr>
            <a:r>
              <a:rPr dirty="0" lang="en-US" sz="1800">
                <a:latin charset="0" panose="02040504050005020304" pitchFamily="18" typeface="Amasis MT Pro"/>
              </a:rPr>
              <a:t>Recommend maintenance actions</a:t>
            </a:r>
          </a:p>
          <a:p>
            <a:pPr>
              <a:buFont charset="0" panose="020B0604020202020204" pitchFamily="34" typeface="Arial"/>
              <a:buChar char="•"/>
            </a:pPr>
            <a:r>
              <a:rPr dirty="0" lang="en-US" sz="1800">
                <a:latin charset="0" panose="02040504050005020304" pitchFamily="18" typeface="Amasis MT Pro"/>
              </a:rPr>
              <a:t>Optimize energy and thermal management strategies</a:t>
            </a:r>
          </a:p>
          <a:p>
            <a:pPr>
              <a:buFont charset="0" panose="020B0604020202020204" pitchFamily="34" typeface="Arial"/>
              <a:buChar char="•"/>
            </a:pPr>
            <a:r>
              <a:rPr b="1" dirty="0" lang="en-US" sz="1800">
                <a:latin charset="0" panose="02040504050005020304" pitchFamily="18" typeface="Amasis MT Pro"/>
              </a:rPr>
              <a:t>Automotive Example</a:t>
            </a:r>
            <a:r>
              <a:rPr dirty="0" lang="en-US" sz="1800">
                <a:latin charset="0" panose="02040504050005020304" pitchFamily="18" typeface="Amasis MT Pro"/>
              </a:rPr>
              <a:t>: Machine learning models can spot early warning signs of motor wear or unusual behavior in driver-assist systems, helping catch issues before they become serious problems..</a:t>
            </a:r>
          </a:p>
          <a:p>
            <a:pPr>
              <a:buFont charset="0" panose="020B0604020202020204" pitchFamily="34" typeface="Arial"/>
              <a:buChar char="•"/>
            </a:pPr>
            <a:r>
              <a:rPr b="1" dirty="0" lang="en-US" sz="1800">
                <a:latin charset="0" panose="02040504050005020304" pitchFamily="18" typeface="Amasis MT Pro"/>
              </a:rPr>
              <a:t>Use Case</a:t>
            </a:r>
            <a:r>
              <a:rPr dirty="0" lang="en-US" sz="1800">
                <a:latin charset="0" panose="02040504050005020304" pitchFamily="18" typeface="Amasis MT Pro"/>
              </a:rPr>
              <a:t>: Predictive maintenance for EV battery modules to </a:t>
            </a:r>
            <a:r>
              <a:rPr b="1" dirty="0" lang="en-US" sz="1800">
                <a:latin charset="0" panose="02040504050005020304" pitchFamily="18" typeface="Amasis MT Pro"/>
              </a:rPr>
              <a:t>reduce warranty costs</a:t>
            </a:r>
            <a:r>
              <a:rPr dirty="0" lang="en-US" sz="1800">
                <a:latin charset="0" panose="02040504050005020304" pitchFamily="18" typeface="Amasis MT Pro"/>
              </a:rPr>
              <a:t> and </a:t>
            </a:r>
            <a:r>
              <a:rPr b="1" dirty="0" lang="en-US" sz="1800">
                <a:latin charset="0" panose="02040504050005020304" pitchFamily="18" typeface="Amasis MT Pro"/>
              </a:rPr>
              <a:t>increase uptime</a:t>
            </a:r>
            <a:r>
              <a:rPr dirty="0" lang="en-US" sz="1800">
                <a:latin charset="0" panose="02040504050005020304" pitchFamily="18" typeface="Amasis MT Pro"/>
              </a:rPr>
              <a:t>.</a:t>
            </a:r>
          </a:p>
          <a:p>
            <a:endParaRPr dirty="0" lang="en-IN"/>
          </a:p>
        </p:txBody>
      </p:sp>
      <p:sp>
        <p:nvSpPr>
          <p:cNvPr id="5" name="Title 4">
            <a:extLst>
              <a:ext uri="{FF2B5EF4-FFF2-40B4-BE49-F238E27FC236}">
                <a16:creationId xmlns:a16="http://schemas.microsoft.com/office/drawing/2014/main" id="{50A31AAF-8D49-45C3-FDBE-1E3B813391E6}"/>
              </a:ext>
            </a:extLst>
          </p:cNvPr>
          <p:cNvSpPr>
            <a:spLocks noGrp="1"/>
          </p:cNvSpPr>
          <p:nvPr>
            <p:ph type="title"/>
          </p:nvPr>
        </p:nvSpPr>
        <p:spPr/>
        <p:txBody>
          <a:bodyPr/>
          <a:lstStyle/>
          <a:p>
            <a:r>
              <a:rPr dirty="0" lang="en-US"/>
              <a:t>5. </a:t>
            </a:r>
            <a:r>
              <a:rPr b="1" dirty="0" lang="en-US"/>
              <a:t>Analytics and AI/ML Models</a:t>
            </a:r>
            <a:endParaRPr dirty="0" lang="en-IN"/>
          </a:p>
        </p:txBody>
      </p:sp>
      <p:pic>
        <p:nvPicPr>
          <p:cNvPr descr="Mage media" id="16386" name="Picture 2">
            <a:extLst>
              <a:ext uri="{FF2B5EF4-FFF2-40B4-BE49-F238E27FC236}">
                <a16:creationId xmlns:a16="http://schemas.microsoft.com/office/drawing/2014/main" id="{CE5BF7AF-D825-61A3-3889-BE60CC7A521B}"/>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1201465"/>
      </p:ext>
    </p:extLst>
  </p:cSld>
  <p:clrMapOvr>
    <a:masterClrMapping/>
  </p:clrMapOvr>
</p:sld>
</file>

<file path=ppt/slides/slide12.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4803FA0A-4CA0-799C-FF06-5B322B3FCA6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838B527-6BBE-3394-A9E2-E241E92A9478}"/>
              </a:ext>
            </a:extLst>
          </p:cNvPr>
          <p:cNvSpPr>
            <a:spLocks noGrp="1"/>
          </p:cNvSpPr>
          <p:nvPr>
            <p:ph idx="17" sz="quarter" type="body"/>
          </p:nvPr>
        </p:nvSpPr>
        <p:spPr/>
        <p:txBody>
          <a:bodyPr/>
          <a:lstStyle/>
          <a:p>
            <a:pPr>
              <a:buNone/>
            </a:pPr>
            <a:r>
              <a:rPr dirty="0" lang="en-US" sz="1800">
                <a:latin charset="0" panose="02040504050005020304" pitchFamily="18" typeface="Amasis MT Pro"/>
              </a:rPr>
              <a:t>These provide an interactive UI or dashboard to:</a:t>
            </a:r>
          </a:p>
          <a:p>
            <a:pPr>
              <a:buFont charset="0" panose="020B0604020202020204" pitchFamily="34" typeface="Arial"/>
              <a:buChar char="•"/>
            </a:pPr>
            <a:r>
              <a:rPr dirty="0" lang="en-US" sz="1800">
                <a:latin charset="0" panose="02040504050005020304" pitchFamily="18" typeface="Amasis MT Pro"/>
              </a:rPr>
              <a:t>Monitor the digital twin</a:t>
            </a:r>
          </a:p>
          <a:p>
            <a:pPr>
              <a:buFont charset="0" panose="020B0604020202020204" pitchFamily="34" typeface="Arial"/>
              <a:buChar char="•"/>
            </a:pPr>
            <a:r>
              <a:rPr dirty="0" lang="en-US" sz="1800">
                <a:latin charset="0" panose="02040504050005020304" pitchFamily="18" typeface="Amasis MT Pro"/>
              </a:rPr>
              <a:t>Run real-time simulations</a:t>
            </a:r>
          </a:p>
          <a:p>
            <a:pPr>
              <a:buFont charset="0" panose="020B0604020202020204" pitchFamily="34" typeface="Arial"/>
              <a:buChar char="•"/>
            </a:pPr>
            <a:r>
              <a:rPr dirty="0" lang="en-US" sz="1800">
                <a:latin charset="0" panose="02040504050005020304" pitchFamily="18" typeface="Amasis MT Pro"/>
              </a:rPr>
              <a:t>Visualize alerts and KPIs</a:t>
            </a:r>
          </a:p>
          <a:p>
            <a:pPr>
              <a:buFont charset="0" panose="020B0604020202020204" pitchFamily="34" typeface="Arial"/>
              <a:buChar char="•"/>
            </a:pPr>
            <a:r>
              <a:rPr dirty="0" lang="en-US" sz="1800">
                <a:latin charset="0" panose="02040504050005020304" pitchFamily="18" typeface="Amasis MT Pro"/>
              </a:rPr>
              <a:t>View historical trends</a:t>
            </a:r>
          </a:p>
          <a:p>
            <a:pPr>
              <a:buFont charset="0" panose="020B0604020202020204" pitchFamily="34" typeface="Arial"/>
              <a:buChar char="•"/>
            </a:pPr>
            <a:r>
              <a:rPr b="1" dirty="0" lang="en-US" sz="1800">
                <a:latin charset="0" panose="02040504050005020304" pitchFamily="18" typeface="Amasis MT Pro"/>
              </a:rPr>
              <a:t>Automotive Example</a:t>
            </a:r>
            <a:r>
              <a:rPr dirty="0" lang="en-US" sz="1800">
                <a:latin charset="0" panose="02040504050005020304" pitchFamily="18" typeface="Amasis MT Pro"/>
              </a:rPr>
              <a:t>: OEM engineers using a 3D dashboard to visualize </a:t>
            </a:r>
            <a:r>
              <a:rPr b="1" dirty="0" lang="en-US" sz="1800">
                <a:latin charset="0" panose="02040504050005020304" pitchFamily="18" typeface="Amasis MT Pro"/>
              </a:rPr>
              <a:t>thermal behavior of battery cells</a:t>
            </a:r>
            <a:r>
              <a:rPr dirty="0" lang="en-US" sz="1800">
                <a:latin charset="0" panose="02040504050005020304" pitchFamily="18" typeface="Amasis MT Pro"/>
              </a:rPr>
              <a:t> under different drive cycles.</a:t>
            </a:r>
          </a:p>
          <a:p>
            <a:pPr>
              <a:buFont charset="0" panose="020B0604020202020204" pitchFamily="34" typeface="Arial"/>
              <a:buChar char="•"/>
            </a:pPr>
            <a:r>
              <a:rPr b="1" dirty="0" lang="en-US" sz="1800">
                <a:latin charset="0" panose="02040504050005020304" pitchFamily="18" typeface="Amasis MT Pro"/>
              </a:rPr>
              <a:t>Use Case</a:t>
            </a:r>
            <a:r>
              <a:rPr dirty="0" lang="en-US" sz="1800">
                <a:latin charset="0" panose="02040504050005020304" pitchFamily="18" typeface="Amasis MT Pro"/>
              </a:rPr>
              <a:t>: Service centers accessing a digital twin to </a:t>
            </a:r>
            <a:r>
              <a:rPr b="1" dirty="0" lang="en-US" sz="1800">
                <a:latin charset="0" panose="02040504050005020304" pitchFamily="18" typeface="Amasis MT Pro"/>
              </a:rPr>
              <a:t>diagnose vehicle issues remotely</a:t>
            </a:r>
            <a:r>
              <a:rPr dirty="0" lang="en-US" sz="1800">
                <a:latin charset="0" panose="02040504050005020304" pitchFamily="18" typeface="Amasis MT Pro"/>
              </a:rPr>
              <a:t> before a customer even visits.</a:t>
            </a:r>
          </a:p>
          <a:p>
            <a:endParaRPr dirty="0" lang="en-IN"/>
          </a:p>
        </p:txBody>
      </p:sp>
      <p:sp>
        <p:nvSpPr>
          <p:cNvPr id="5" name="Title 4">
            <a:extLst>
              <a:ext uri="{FF2B5EF4-FFF2-40B4-BE49-F238E27FC236}">
                <a16:creationId xmlns:a16="http://schemas.microsoft.com/office/drawing/2014/main" id="{0C9C36F2-11AA-9341-9CDA-9B1030D5E2B2}"/>
              </a:ext>
            </a:extLst>
          </p:cNvPr>
          <p:cNvSpPr>
            <a:spLocks noGrp="1"/>
          </p:cNvSpPr>
          <p:nvPr>
            <p:ph type="title"/>
          </p:nvPr>
        </p:nvSpPr>
        <p:spPr/>
        <p:txBody>
          <a:bodyPr/>
          <a:lstStyle/>
          <a:p>
            <a:r>
              <a:rPr dirty="0" lang="en-IN"/>
              <a:t>6. </a:t>
            </a:r>
            <a:r>
              <a:rPr b="1" dirty="0" lang="en-IN"/>
              <a:t>Visualization Tools</a:t>
            </a:r>
            <a:endParaRPr dirty="0" lang="en-IN"/>
          </a:p>
        </p:txBody>
      </p:sp>
      <p:pic>
        <p:nvPicPr>
          <p:cNvPr descr="Mage media" id="6" name="Picture 2">
            <a:extLst>
              <a:ext uri="{FF2B5EF4-FFF2-40B4-BE49-F238E27FC236}">
                <a16:creationId xmlns:a16="http://schemas.microsoft.com/office/drawing/2014/main" id="{8C071D90-3E76-18B6-3D47-91B2F25D7ADF}"/>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xfrm>
            <a:off x="0" y="-10761"/>
            <a:ext cx="6168008" cy="4025991"/>
          </a:xfrm>
          <a:prstGeom prst="rect">
            <a:avLst/>
          </a:prstGeom>
          <a:noFill/>
          <a:extLst>
            <a:ext uri="{909E8E84-426E-40DD-AFC4-6F175D3DCCD1}">
              <a14:hiddenFill xmlns:a14="http://schemas.microsoft.com/office/drawing/2010/main">
                <a:solidFill>
                  <a:srgbClr val="FFFFFF"/>
                </a:solidFill>
              </a14:hiddenFill>
            </a:ext>
          </a:extLst>
        </p:spPr>
      </p:pic>
      <p:pic>
        <p:nvPicPr>
          <p:cNvPr descr="Mage media" id="13316" name="Picture 4">
            <a:extLst>
              <a:ext uri="{FF2B5EF4-FFF2-40B4-BE49-F238E27FC236}">
                <a16:creationId xmlns:a16="http://schemas.microsoft.com/office/drawing/2014/main" id="{210C8179-9D6F-6B18-9F52-CDB6900DC882}"/>
              </a:ext>
            </a:extLst>
          </p:cNvPr>
          <p:cNvPicPr>
            <a:picLocks noChangeArrowheads="1"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2748" y="3990851"/>
            <a:ext cx="6270756" cy="3429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2814275"/>
      </p:ext>
    </p:extLst>
  </p:cSld>
  <p:clrMapOvr>
    <a:masterClrMapping/>
  </p:clrMapOvr>
</p:sld>
</file>

<file path=ppt/slides/slide13.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9C8F9005-C85B-0273-2E0C-4A33E7FD9D6D}"/>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DC02B2A-96D5-869C-3E37-308C3AE06B99}"/>
              </a:ext>
            </a:extLst>
          </p:cNvPr>
          <p:cNvSpPr>
            <a:spLocks noGrp="1"/>
          </p:cNvSpPr>
          <p:nvPr>
            <p:ph idx="17" sz="quarter" type="body"/>
          </p:nvPr>
        </p:nvSpPr>
        <p:spPr/>
        <p:txBody>
          <a:bodyPr/>
          <a:lstStyle/>
          <a:p>
            <a:pPr>
              <a:buNone/>
            </a:pPr>
            <a:r>
              <a:rPr dirty="0" lang="en-US">
                <a:latin charset="0" panose="02040504050005020304" pitchFamily="18" typeface="Amasis MT Pro"/>
              </a:rPr>
              <a:t>Allows the digital twin to send recommendations or control inputs back to the physical system for:</a:t>
            </a:r>
          </a:p>
          <a:p>
            <a:pPr>
              <a:buFont charset="0" panose="020B0604020202020204" pitchFamily="34" typeface="Arial"/>
              <a:buChar char="•"/>
            </a:pPr>
            <a:r>
              <a:rPr dirty="0" lang="en-US">
                <a:latin charset="0" panose="02040504050005020304" pitchFamily="18" typeface="Amasis MT Pro"/>
              </a:rPr>
              <a:t>Automated performance tuning</a:t>
            </a:r>
          </a:p>
          <a:p>
            <a:pPr>
              <a:buFont charset="0" panose="020B0604020202020204" pitchFamily="34" typeface="Arial"/>
              <a:buChar char="•"/>
            </a:pPr>
            <a:r>
              <a:rPr dirty="0" lang="en-US">
                <a:latin charset="0" panose="02040504050005020304" pitchFamily="18" typeface="Amasis MT Pro"/>
              </a:rPr>
              <a:t>Remote software updates (OTA)</a:t>
            </a:r>
          </a:p>
          <a:p>
            <a:pPr>
              <a:buFont charset="0" panose="020B0604020202020204" pitchFamily="34" typeface="Arial"/>
              <a:buChar char="•"/>
            </a:pPr>
            <a:r>
              <a:rPr dirty="0" lang="en-US">
                <a:latin charset="0" panose="02040504050005020304" pitchFamily="18" typeface="Amasis MT Pro"/>
              </a:rPr>
              <a:t>Maintenance scheduling</a:t>
            </a:r>
          </a:p>
          <a:p>
            <a:pPr>
              <a:buFont charset="0" panose="020B0604020202020204" pitchFamily="34" typeface="Arial"/>
              <a:buChar char="•"/>
            </a:pPr>
            <a:r>
              <a:rPr b="1" dirty="0" lang="en-US">
                <a:latin charset="0" panose="02040504050005020304" pitchFamily="18" typeface="Amasis MT Pro"/>
              </a:rPr>
              <a:t>Automotive Example</a:t>
            </a:r>
            <a:r>
              <a:rPr dirty="0" lang="en-US">
                <a:latin charset="0" panose="02040504050005020304" pitchFamily="18" typeface="Amasis MT Pro"/>
              </a:rPr>
              <a:t>: Sending a </a:t>
            </a:r>
            <a:r>
              <a:rPr b="1" dirty="0" lang="en-US">
                <a:latin charset="0" panose="02040504050005020304" pitchFamily="18" typeface="Amasis MT Pro"/>
              </a:rPr>
              <a:t>cooling control signal</a:t>
            </a:r>
            <a:r>
              <a:rPr dirty="0" lang="en-US">
                <a:latin charset="0" panose="02040504050005020304" pitchFamily="18" typeface="Amasis MT Pro"/>
              </a:rPr>
              <a:t> to prevent battery overheating based on simulated scenarios.</a:t>
            </a:r>
          </a:p>
          <a:p>
            <a:pPr>
              <a:buFont charset="0" panose="020B0604020202020204" pitchFamily="34" typeface="Arial"/>
              <a:buChar char="•"/>
            </a:pPr>
            <a:r>
              <a:rPr b="1" dirty="0" lang="en-US">
                <a:latin charset="0" panose="02040504050005020304" pitchFamily="18" typeface="Amasis MT Pro"/>
              </a:rPr>
              <a:t>Use Case</a:t>
            </a:r>
            <a:r>
              <a:rPr dirty="0" lang="en-US">
                <a:latin charset="0" panose="02040504050005020304" pitchFamily="18" typeface="Amasis MT Pro"/>
              </a:rPr>
              <a:t>: Real-time suspension adjustments in a connected car for dynamic road conditions.</a:t>
            </a:r>
          </a:p>
          <a:p>
            <a:endParaRPr dirty="0" lang="en-IN">
              <a:latin charset="0" panose="02040504050005020304" pitchFamily="18" typeface="Amasis MT Pro"/>
            </a:endParaRPr>
          </a:p>
        </p:txBody>
      </p:sp>
      <p:sp>
        <p:nvSpPr>
          <p:cNvPr id="5" name="Title 4">
            <a:extLst>
              <a:ext uri="{FF2B5EF4-FFF2-40B4-BE49-F238E27FC236}">
                <a16:creationId xmlns:a16="http://schemas.microsoft.com/office/drawing/2014/main" id="{B92A4179-E82F-234B-30D7-CEF2D910F49F}"/>
              </a:ext>
            </a:extLst>
          </p:cNvPr>
          <p:cNvSpPr>
            <a:spLocks noGrp="1"/>
          </p:cNvSpPr>
          <p:nvPr>
            <p:ph type="title"/>
          </p:nvPr>
        </p:nvSpPr>
        <p:spPr/>
        <p:txBody>
          <a:bodyPr/>
          <a:lstStyle/>
          <a:p>
            <a:r>
              <a:rPr dirty="0" lang="en-IN"/>
              <a:t>7. </a:t>
            </a:r>
            <a:r>
              <a:rPr b="1" dirty="0" lang="en-IN"/>
              <a:t>Feedback Mechanism</a:t>
            </a:r>
            <a:endParaRPr dirty="0" lang="en-IN"/>
          </a:p>
        </p:txBody>
      </p:sp>
      <p:pic>
        <p:nvPicPr>
          <p:cNvPr descr="Mage media" id="17410" name="Picture 2">
            <a:extLst>
              <a:ext uri="{FF2B5EF4-FFF2-40B4-BE49-F238E27FC236}">
                <a16:creationId xmlns:a16="http://schemas.microsoft.com/office/drawing/2014/main" id="{360FF01E-0918-D516-80D4-7126E08C2853}"/>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16021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D2E765-88B8-A475-9E0F-0994C5442EE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8C62A9D-A5E7-0385-2D92-6B11EB3E5096}"/>
              </a:ext>
            </a:extLst>
          </p:cNvPr>
          <p:cNvSpPr>
            <a:spLocks noGrp="1"/>
          </p:cNvSpPr>
          <p:nvPr>
            <p:ph type="title"/>
          </p:nvPr>
        </p:nvSpPr>
        <p:spPr>
          <a:xfrm>
            <a:off x="414971" y="260350"/>
            <a:ext cx="11008413" cy="792163"/>
          </a:xfrm>
        </p:spPr>
        <p:txBody>
          <a:bodyPr anchor="ctr">
            <a:normAutofit/>
          </a:bodyPr>
          <a:lstStyle/>
          <a:p>
            <a:r>
              <a:rPr lang="en-US"/>
              <a:t>8. </a:t>
            </a:r>
            <a:r>
              <a:rPr lang="en-US" b="1"/>
              <a:t>Security and Privacy Layer</a:t>
            </a:r>
            <a:endParaRPr lang="en-IN" dirty="0"/>
          </a:p>
        </p:txBody>
      </p:sp>
      <p:sp>
        <p:nvSpPr>
          <p:cNvPr id="14" name="Rectangle 10">
            <a:extLst>
              <a:ext uri="{FF2B5EF4-FFF2-40B4-BE49-F238E27FC236}">
                <a16:creationId xmlns:a16="http://schemas.microsoft.com/office/drawing/2014/main" id="{0543C2C6-09EB-ED19-8BA3-15F913CF1110}"/>
              </a:ext>
            </a:extLst>
          </p:cNvPr>
          <p:cNvSpPr>
            <a:spLocks noChangeArrowheads="1"/>
          </p:cNvSpPr>
          <p:nvPr/>
        </p:nvSpPr>
        <p:spPr bwMode="auto">
          <a:xfrm>
            <a:off x="414971" y="1243013"/>
            <a:ext cx="5313706" cy="435254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t" anchorCtr="0" compatLnSpc="1">
            <a:prstTxWarp prst="textNoShape">
              <a:avLst/>
            </a:prstTxWarp>
            <a:normAutofit/>
          </a:bodyPr>
          <a:lstStyle/>
          <a:p>
            <a:pPr marR="0" lvl="0" indent="0" fontAlgn="base">
              <a:spcBef>
                <a:spcPct val="0"/>
              </a:spcBef>
              <a:spcAft>
                <a:spcPts val="600"/>
              </a:spcAft>
              <a:buClrTx/>
              <a:buSzTx/>
              <a:buFontTx/>
              <a:buNone/>
              <a:tabLst/>
            </a:pPr>
            <a:r>
              <a:rPr kumimoji="0" lang="en-US" altLang="en-US" sz="1400" b="0" i="0" u="none" strike="noStrike" kern="1200" cap="none" normalizeH="0" baseline="0" dirty="0">
                <a:ln>
                  <a:noFill/>
                </a:ln>
                <a:effectLst/>
                <a:latin typeface="Amasis MT Pro" panose="02040504050005020304" pitchFamily="18" charset="0"/>
              </a:rPr>
              <a:t>Protects the integrity, confidentiality, and availability of the data. Key features include:</a:t>
            </a:r>
          </a:p>
          <a:p>
            <a:pPr marR="0" lvl="0" indent="0" fontAlgn="base">
              <a:spcBef>
                <a:spcPct val="0"/>
              </a:spcBef>
              <a:spcAft>
                <a:spcPts val="600"/>
              </a:spcAft>
              <a:buClrTx/>
              <a:buSzTx/>
              <a:buFontTx/>
              <a:buChar char="•"/>
              <a:tabLst/>
            </a:pPr>
            <a:r>
              <a:rPr kumimoji="0" lang="en-US" altLang="en-US" sz="1400" b="0" i="0" u="none" strike="noStrike" kern="1200" cap="none" normalizeH="0" baseline="0" dirty="0">
                <a:ln>
                  <a:noFill/>
                </a:ln>
                <a:effectLst/>
                <a:latin typeface="Amasis MT Pro" panose="02040504050005020304" pitchFamily="18" charset="0"/>
              </a:rPr>
              <a:t>End-to-end encryption</a:t>
            </a:r>
          </a:p>
          <a:p>
            <a:pPr marR="0" lvl="0" indent="0" fontAlgn="base">
              <a:spcBef>
                <a:spcPct val="0"/>
              </a:spcBef>
              <a:spcAft>
                <a:spcPts val="600"/>
              </a:spcAft>
              <a:buClrTx/>
              <a:buSzTx/>
              <a:buFontTx/>
              <a:buChar char="•"/>
              <a:tabLst/>
            </a:pPr>
            <a:r>
              <a:rPr kumimoji="0" lang="en-US" altLang="en-US" sz="1400" b="0" i="0" u="none" strike="noStrike" kern="1200" cap="none" normalizeH="0" baseline="0" dirty="0">
                <a:ln>
                  <a:noFill/>
                </a:ln>
                <a:effectLst/>
                <a:latin typeface="Amasis MT Pro" panose="02040504050005020304" pitchFamily="18" charset="0"/>
              </a:rPr>
              <a:t>Role-based access control</a:t>
            </a:r>
          </a:p>
          <a:p>
            <a:pPr marR="0" lvl="0" indent="0" fontAlgn="base">
              <a:spcBef>
                <a:spcPct val="0"/>
              </a:spcBef>
              <a:spcAft>
                <a:spcPts val="600"/>
              </a:spcAft>
              <a:buClrTx/>
              <a:buSzTx/>
              <a:buFontTx/>
              <a:buChar char="•"/>
              <a:tabLst/>
            </a:pPr>
            <a:r>
              <a:rPr kumimoji="0" lang="en-US" altLang="en-US" sz="1400" b="0" i="0" u="none" strike="noStrike" kern="1200" cap="none" normalizeH="0" baseline="0" dirty="0">
                <a:ln>
                  <a:noFill/>
                </a:ln>
                <a:effectLst/>
                <a:latin typeface="Amasis MT Pro" panose="02040504050005020304" pitchFamily="18" charset="0"/>
              </a:rPr>
              <a:t>Compliance with industry standards</a:t>
            </a:r>
          </a:p>
          <a:p>
            <a:pPr marR="0" lvl="0" indent="0" fontAlgn="base">
              <a:spcBef>
                <a:spcPct val="0"/>
              </a:spcBef>
              <a:spcAft>
                <a:spcPts val="600"/>
              </a:spcAft>
              <a:buClrTx/>
              <a:buSzTx/>
              <a:buFontTx/>
              <a:buChar char="•"/>
              <a:tabLst/>
            </a:pPr>
            <a:r>
              <a:rPr kumimoji="0" lang="en-US" altLang="en-US" sz="1400" b="1" i="0" u="none" strike="noStrike" kern="1200" cap="none" normalizeH="0" baseline="0" dirty="0">
                <a:ln>
                  <a:noFill/>
                </a:ln>
                <a:effectLst/>
                <a:latin typeface="Amasis MT Pro" panose="02040504050005020304" pitchFamily="18" charset="0"/>
              </a:rPr>
              <a:t>Automotive Example</a:t>
            </a:r>
            <a:r>
              <a:rPr kumimoji="0" lang="en-US" altLang="en-US" sz="1400" b="0" i="0" u="none" strike="noStrike" kern="1200" cap="none" normalizeH="0" baseline="0" dirty="0">
                <a:ln>
                  <a:noFill/>
                </a:ln>
                <a:effectLst/>
                <a:latin typeface="Amasis MT Pro" panose="02040504050005020304" pitchFamily="18" charset="0"/>
              </a:rPr>
              <a:t>:</a:t>
            </a:r>
          </a:p>
          <a:p>
            <a:pPr marL="0" marR="0" lvl="1" indent="0" fontAlgn="base">
              <a:spcBef>
                <a:spcPct val="0"/>
              </a:spcBef>
              <a:spcAft>
                <a:spcPts val="600"/>
              </a:spcAft>
              <a:buClrTx/>
              <a:buSzTx/>
              <a:buFontTx/>
              <a:buChar char="•"/>
              <a:tabLst/>
            </a:pPr>
            <a:r>
              <a:rPr kumimoji="0" lang="en-US" altLang="en-US" sz="1400" b="0" i="0" u="none" strike="noStrike" kern="1200" cap="none" normalizeH="0" baseline="0" dirty="0">
                <a:ln>
                  <a:noFill/>
                </a:ln>
                <a:effectLst/>
                <a:latin typeface="Amasis MT Pro" panose="02040504050005020304" pitchFamily="18" charset="0"/>
              </a:rPr>
              <a:t>Encrypting OTA updates for ECUs</a:t>
            </a:r>
          </a:p>
          <a:p>
            <a:pPr marL="0" marR="0" lvl="1" indent="0" fontAlgn="base">
              <a:spcBef>
                <a:spcPct val="0"/>
              </a:spcBef>
              <a:spcAft>
                <a:spcPts val="600"/>
              </a:spcAft>
              <a:buClrTx/>
              <a:buSzTx/>
              <a:buFontTx/>
              <a:buChar char="•"/>
              <a:tabLst/>
            </a:pPr>
            <a:r>
              <a:rPr kumimoji="0" lang="en-US" altLang="en-US" sz="1400" b="0" i="0" u="none" strike="noStrike" kern="1200" cap="none" normalizeH="0" baseline="0" dirty="0">
                <a:ln>
                  <a:noFill/>
                </a:ln>
                <a:effectLst/>
                <a:latin typeface="Amasis MT Pro" panose="02040504050005020304" pitchFamily="18" charset="0"/>
              </a:rPr>
              <a:t>Preventing cyberattacks on connected </a:t>
            </a:r>
          </a:p>
          <a:p>
            <a:pPr marL="0" marR="0" lvl="1" indent="0" fontAlgn="base">
              <a:spcBef>
                <a:spcPct val="0"/>
              </a:spcBef>
              <a:spcAft>
                <a:spcPts val="600"/>
              </a:spcAft>
              <a:buClrTx/>
              <a:buSzTx/>
              <a:tabLst/>
            </a:pPr>
            <a:r>
              <a:rPr kumimoji="0" lang="en-US" altLang="en-US" sz="1400" b="0" i="0" u="none" strike="noStrike" kern="1200" cap="none" normalizeH="0" baseline="0" dirty="0">
                <a:ln>
                  <a:noFill/>
                </a:ln>
                <a:effectLst/>
                <a:latin typeface="Amasis MT Pro" panose="02040504050005020304" pitchFamily="18" charset="0"/>
              </a:rPr>
              <a:t>vehicles</a:t>
            </a:r>
          </a:p>
          <a:p>
            <a:pPr marR="0" lvl="0" indent="0" fontAlgn="base">
              <a:spcBef>
                <a:spcPct val="0"/>
              </a:spcBef>
              <a:spcAft>
                <a:spcPts val="600"/>
              </a:spcAft>
              <a:buClrTx/>
              <a:buSzTx/>
              <a:buFontTx/>
              <a:buChar char="•"/>
              <a:tabLst/>
            </a:pPr>
            <a:r>
              <a:rPr kumimoji="0" lang="en-US" altLang="en-US" sz="1400" b="1" i="0" u="none" strike="noStrike" kern="1200" cap="none" normalizeH="0" baseline="0" dirty="0">
                <a:ln>
                  <a:noFill/>
                </a:ln>
                <a:effectLst/>
                <a:latin typeface="Amasis MT Pro" panose="02040504050005020304" pitchFamily="18" charset="0"/>
              </a:rPr>
              <a:t>Standards Followed</a:t>
            </a:r>
            <a:r>
              <a:rPr kumimoji="0" lang="en-US" altLang="en-US" sz="1400" b="0" i="0" u="none" strike="noStrike" kern="1200" cap="none" normalizeH="0" baseline="0" dirty="0">
                <a:ln>
                  <a:noFill/>
                </a:ln>
                <a:effectLst/>
                <a:latin typeface="Amasis MT Pro" panose="02040504050005020304" pitchFamily="18" charset="0"/>
              </a:rPr>
              <a:t>:</a:t>
            </a:r>
          </a:p>
          <a:p>
            <a:pPr marL="0" marR="0" lvl="1" indent="0" fontAlgn="base">
              <a:spcBef>
                <a:spcPct val="0"/>
              </a:spcBef>
              <a:spcAft>
                <a:spcPts val="600"/>
              </a:spcAft>
              <a:buClrTx/>
              <a:buSzTx/>
              <a:buFontTx/>
              <a:buChar char="•"/>
              <a:tabLst/>
            </a:pPr>
            <a:r>
              <a:rPr kumimoji="0" lang="en-US" altLang="en-US" sz="1400" b="1" i="0" u="none" strike="noStrike" kern="1200" cap="none" normalizeH="0" baseline="0" dirty="0">
                <a:ln>
                  <a:noFill/>
                </a:ln>
                <a:effectLst/>
                <a:latin typeface="Amasis MT Pro" panose="02040504050005020304" pitchFamily="18" charset="0"/>
              </a:rPr>
              <a:t>ISO/SAE 21434</a:t>
            </a:r>
            <a:r>
              <a:rPr kumimoji="0" lang="en-US" altLang="en-US" sz="1400" b="0" i="0" u="none" strike="noStrike" kern="1200" cap="none" normalizeH="0" baseline="0" dirty="0">
                <a:ln>
                  <a:noFill/>
                </a:ln>
                <a:effectLst/>
                <a:latin typeface="Amasis MT Pro" panose="02040504050005020304" pitchFamily="18" charset="0"/>
              </a:rPr>
              <a:t> for cybersecurity</a:t>
            </a:r>
          </a:p>
          <a:p>
            <a:pPr marL="0" marR="0" lvl="1" indent="0" fontAlgn="base">
              <a:spcBef>
                <a:spcPct val="0"/>
              </a:spcBef>
              <a:spcAft>
                <a:spcPts val="600"/>
              </a:spcAft>
              <a:buClrTx/>
              <a:buSzTx/>
              <a:buFontTx/>
              <a:buChar char="•"/>
              <a:tabLst/>
            </a:pPr>
            <a:r>
              <a:rPr kumimoji="0" lang="en-US" altLang="en-US" sz="1400" b="1" i="0" u="none" strike="noStrike" kern="1200" cap="none" normalizeH="0" baseline="0" dirty="0">
                <a:ln>
                  <a:noFill/>
                </a:ln>
                <a:effectLst/>
                <a:latin typeface="Amasis MT Pro" panose="02040504050005020304" pitchFamily="18" charset="0"/>
              </a:rPr>
              <a:t>GDPR/CCPA</a:t>
            </a:r>
            <a:r>
              <a:rPr kumimoji="0" lang="en-US" altLang="en-US" sz="1400" b="0" i="0" u="none" strike="noStrike" kern="1200" cap="none" normalizeH="0" baseline="0" dirty="0">
                <a:ln>
                  <a:noFill/>
                </a:ln>
                <a:effectLst/>
                <a:latin typeface="Amasis MT Pro" panose="02040504050005020304" pitchFamily="18" charset="0"/>
              </a:rPr>
              <a:t> for user data protection</a:t>
            </a:r>
          </a:p>
          <a:p>
            <a:pPr marR="0" lvl="0" indent="0" fontAlgn="base">
              <a:spcBef>
                <a:spcPct val="0"/>
              </a:spcBef>
              <a:spcAft>
                <a:spcPts val="600"/>
              </a:spcAft>
              <a:buClrTx/>
              <a:buSzTx/>
              <a:buFontTx/>
              <a:buNone/>
              <a:tabLst/>
            </a:pPr>
            <a:endParaRPr kumimoji="0" lang="en-US" altLang="en-US" sz="1400" b="0" i="0" u="none" strike="noStrike" kern="1200" cap="none" normalizeH="0" baseline="0" dirty="0">
              <a:ln>
                <a:noFill/>
              </a:ln>
              <a:effectLst/>
            </a:endParaRPr>
          </a:p>
        </p:txBody>
      </p:sp>
      <p:pic>
        <p:nvPicPr>
          <p:cNvPr id="10258" name="Picture 18" descr="The ECUs use the CAN interface for data ...">
            <a:extLst>
              <a:ext uri="{FF2B5EF4-FFF2-40B4-BE49-F238E27FC236}">
                <a16:creationId xmlns:a16="http://schemas.microsoft.com/office/drawing/2014/main" id="{10FE85C0-139F-D353-56CF-811AEB15AC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6149" y="1628800"/>
            <a:ext cx="7920880" cy="4394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88536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D871570-FBB8-F282-1B97-65C16AE6C6F4}"/>
              </a:ext>
            </a:extLst>
          </p:cNvPr>
          <p:cNvSpPr>
            <a:spLocks noGrp="1"/>
          </p:cNvSpPr>
          <p:nvPr>
            <p:ph type="ctrTitle"/>
          </p:nvPr>
        </p:nvSpPr>
        <p:spPr>
          <a:xfrm>
            <a:off x="263352" y="3212976"/>
            <a:ext cx="5256584" cy="1728192"/>
          </a:xfrm>
        </p:spPr>
        <p:txBody>
          <a:bodyPr/>
          <a:lstStyle/>
          <a:p>
            <a:pPr marL="914400" indent="-914400">
              <a:buFont typeface="+mj-lt"/>
              <a:buAutoNum type="arabicPeriod" startAt="3"/>
            </a:pPr>
            <a:r>
              <a:rPr lang="en-IN" dirty="0"/>
              <a:t>Types of digital twins</a:t>
            </a:r>
            <a:endParaRPr lang="en-US" dirty="0"/>
          </a:p>
        </p:txBody>
      </p:sp>
      <p:sp>
        <p:nvSpPr>
          <p:cNvPr id="6" name="ZoneTexte 5">
            <a:extLst>
              <a:ext uri="{FF2B5EF4-FFF2-40B4-BE49-F238E27FC236}">
                <a16:creationId xmlns:a16="http://schemas.microsoft.com/office/drawing/2014/main" id="{192A5D77-C005-A59E-F201-CA5F0881209D}"/>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pic>
        <p:nvPicPr>
          <p:cNvPr id="8" name="Picture 7" descr="A screenshot of a computer screen&#10;&#10;AI-generated content may be incorrect.">
            <a:extLst>
              <a:ext uri="{FF2B5EF4-FFF2-40B4-BE49-F238E27FC236}">
                <a16:creationId xmlns:a16="http://schemas.microsoft.com/office/drawing/2014/main" id="{30CEB5E0-6656-EFB3-D5D1-DFDF2CD297B3}"/>
              </a:ext>
            </a:extLst>
          </p:cNvPr>
          <p:cNvPicPr>
            <a:picLocks noChangeAspect="1"/>
          </p:cNvPicPr>
          <p:nvPr/>
        </p:nvPicPr>
        <p:blipFill>
          <a:blip r:embed="rId3"/>
          <a:stretch>
            <a:fillRect/>
          </a:stretch>
        </p:blipFill>
        <p:spPr>
          <a:xfrm>
            <a:off x="5806429" y="265513"/>
            <a:ext cx="6096000" cy="6096000"/>
          </a:xfrm>
          <a:prstGeom prst="rect">
            <a:avLst/>
          </a:prstGeom>
          <a:noFill/>
        </p:spPr>
      </p:pic>
    </p:spTree>
    <p:extLst>
      <p:ext uri="{BB962C8B-B14F-4D97-AF65-F5344CB8AC3E}">
        <p14:creationId xmlns:p14="http://schemas.microsoft.com/office/powerpoint/2010/main" val="10918892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E4E15A-1E76-39E7-1437-6B3B637C6C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1E387B-BE8D-CD10-6AB5-AC0F40EBE422}"/>
              </a:ext>
            </a:extLst>
          </p:cNvPr>
          <p:cNvSpPr>
            <a:spLocks noGrp="1"/>
          </p:cNvSpPr>
          <p:nvPr>
            <p:ph type="title"/>
          </p:nvPr>
        </p:nvSpPr>
        <p:spPr>
          <a:xfrm>
            <a:off x="7464152" y="645516"/>
            <a:ext cx="5047879" cy="1127300"/>
          </a:xfrm>
        </p:spPr>
        <p:txBody>
          <a:bodyPr vert="horz" lIns="0" tIns="0" rIns="0" bIns="0" rtlCol="0" anchor="b" anchorCtr="0">
            <a:normAutofit/>
          </a:bodyPr>
          <a:lstStyle/>
          <a:p>
            <a:r>
              <a:rPr lang="en-IN" dirty="0"/>
              <a:t>Types of digital twins</a:t>
            </a:r>
            <a:br>
              <a:rPr lang="en-IN" dirty="0"/>
            </a:br>
            <a:endParaRPr lang="en-IN" dirty="0"/>
          </a:p>
        </p:txBody>
      </p:sp>
      <p:sp>
        <p:nvSpPr>
          <p:cNvPr id="6" name="TextBox 5">
            <a:extLst>
              <a:ext uri="{FF2B5EF4-FFF2-40B4-BE49-F238E27FC236}">
                <a16:creationId xmlns:a16="http://schemas.microsoft.com/office/drawing/2014/main" id="{438FBF44-2BFC-CCE6-D3FA-63C12C7A1BA2}"/>
              </a:ext>
            </a:extLst>
          </p:cNvPr>
          <p:cNvSpPr txBox="1"/>
          <p:nvPr/>
        </p:nvSpPr>
        <p:spPr>
          <a:xfrm>
            <a:off x="7464152" y="1784209"/>
            <a:ext cx="4392488" cy="2448272"/>
          </a:xfrm>
          <a:prstGeom prst="rect">
            <a:avLst/>
          </a:prstGeom>
        </p:spPr>
        <p:txBody>
          <a:bodyPr vert="horz" lIns="0" tIns="0" rIns="0" bIns="0" rtlCol="0">
            <a:normAutofit/>
          </a:bodyPr>
          <a:lstStyle/>
          <a:p>
            <a:pPr>
              <a:spcBef>
                <a:spcPts val="600"/>
              </a:spcBef>
            </a:pPr>
            <a:r>
              <a:rPr lang="en-US" sz="1400" dirty="0">
                <a:solidFill>
                  <a:schemeClr val="bg1"/>
                </a:solidFill>
                <a:latin typeface="Amasis MT Pro" panose="02040504050005020304" pitchFamily="18" charset="0"/>
              </a:rPr>
              <a:t>There are various types of digital twins depending on the level of product magnification. The biggest difference between these twins is the area of application. It is common to have different types of digital twins co-exist within a system or process. Let’s go through the types of digital twins to learn the differences and how they are applied.</a:t>
            </a:r>
          </a:p>
        </p:txBody>
      </p:sp>
      <p:pic>
        <p:nvPicPr>
          <p:cNvPr id="10" name="Picture 9" descr="A diagram of a digital twins&#10;&#10;AI-generated content may be incorrect.">
            <a:extLst>
              <a:ext uri="{FF2B5EF4-FFF2-40B4-BE49-F238E27FC236}">
                <a16:creationId xmlns:a16="http://schemas.microsoft.com/office/drawing/2014/main" id="{EECAD440-3D27-B54F-D16E-576B2507819F}"/>
              </a:ext>
            </a:extLst>
          </p:cNvPr>
          <p:cNvPicPr>
            <a:picLocks noChangeAspect="1"/>
          </p:cNvPicPr>
          <p:nvPr/>
        </p:nvPicPr>
        <p:blipFill>
          <a:blip r:embed="rId3"/>
          <a:stretch>
            <a:fillRect/>
          </a:stretch>
        </p:blipFill>
        <p:spPr>
          <a:xfrm>
            <a:off x="119336" y="188640"/>
            <a:ext cx="6624736" cy="6192688"/>
          </a:xfrm>
          <a:prstGeom prst="rect">
            <a:avLst/>
          </a:prstGeom>
        </p:spPr>
      </p:pic>
    </p:spTree>
    <p:extLst>
      <p:ext uri="{BB962C8B-B14F-4D97-AF65-F5344CB8AC3E}">
        <p14:creationId xmlns:p14="http://schemas.microsoft.com/office/powerpoint/2010/main" val="3488773800"/>
      </p:ext>
    </p:extLst>
  </p:cSld>
  <p:clrMapOvr>
    <a:masterClrMapping/>
  </p:clrMapOvr>
</p:sld>
</file>

<file path=ppt/slides/slide17.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1" name="Rectangle 6">
            <a:extLst>
              <a:ext uri="{FF2B5EF4-FFF2-40B4-BE49-F238E27FC236}">
                <a16:creationId xmlns:a16="http://schemas.microsoft.com/office/drawing/2014/main" id="{64DB20B1-0F10-7647-99D3-003FD24C8252}"/>
              </a:ext>
            </a:extLst>
          </p:cNvPr>
          <p:cNvSpPr>
            <a:spLocks noChangeArrowheads="1" noGrp="1"/>
          </p:cNvSpPr>
          <p:nvPr>
            <p:ph idx="17" sz="quarter" type="body"/>
          </p:nvPr>
        </p:nvSpPr>
        <p:spPr bwMode="auto">
          <a:xfrm>
            <a:off x="6359416" y="1775607"/>
            <a:ext cx="5063967" cy="4825988"/>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0" bIns="45720" compatLnSpc="1" lIns="91440" numCol="1" rIns="91440" tIns="45720" vert="horz">
            <a:prstTxWarp prst="textNoShape">
              <a:avLst/>
            </a:prstTxWarp>
            <a:normAutofit/>
          </a:bodyPr>
          <a:lstStyle/>
          <a:p>
            <a:pPr defTabSz="914400" eaLnBrk="0" fontAlgn="base" hangingPunct="0" indent="0" latinLnBrk="0" lvl="0" marL="0" marR="0" rtl="0">
              <a:spcBef>
                <a:spcPct val="0"/>
              </a:spcBef>
              <a:spcAft>
                <a:spcPts val="600"/>
              </a:spcAft>
              <a:buClrTx/>
              <a:buSzTx/>
              <a:buFontTx/>
              <a:buChar char="•"/>
              <a:tabLst/>
            </a:pPr>
            <a:r>
              <a:rPr altLang="en-US" b="1" baseline="0" cap="none" dirty="0" i="0" kumimoji="0" lang="en-US" normalizeH="0" strike="noStrike" sz="1600" u="none">
                <a:ln>
                  <a:noFill/>
                </a:ln>
                <a:effectLst/>
              </a:rPr>
              <a:t>Definition</a:t>
            </a:r>
            <a:r>
              <a:rPr altLang="en-US" b="0" baseline="0" cap="none" dirty="0" i="0" kumimoji="0" lang="en-US" normalizeH="0" strike="noStrike" sz="1600" u="none">
                <a:ln>
                  <a:noFill/>
                </a:ln>
                <a:effectLst/>
              </a:rPr>
              <a:t>: Digital representation of a </a:t>
            </a:r>
            <a:r>
              <a:rPr altLang="en-US" b="1" baseline="0" cap="none" dirty="0" i="0" kumimoji="0" lang="en-US" normalizeH="0" strike="noStrike" sz="1600" u="none">
                <a:ln>
                  <a:noFill/>
                </a:ln>
                <a:effectLst/>
              </a:rPr>
              <a:t>single automotive part</a:t>
            </a:r>
            <a:r>
              <a:rPr altLang="en-US" b="0" baseline="0" cap="none" dirty="0" i="0" kumimoji="0" lang="en-US" normalizeH="0" strike="noStrike" sz="1600" u="none">
                <a:ln>
                  <a:noFill/>
                </a:ln>
                <a:effectLst/>
              </a:rPr>
              <a:t>.</a:t>
            </a:r>
            <a:br>
              <a:rPr altLang="en-US" b="0" baseline="0" cap="none" dirty="0" i="0" kumimoji="0" lang="en-US" normalizeH="0" strike="noStrike" sz="1600" u="none">
                <a:ln>
                  <a:noFill/>
                </a:ln>
                <a:effectLst/>
              </a:rPr>
            </a:br>
            <a:endParaRPr altLang="en-US" b="0" baseline="0" cap="none" dirty="0" i="0" kumimoji="0" lang="en-US" normalizeH="0" strike="noStrike" sz="1600" u="none">
              <a:ln>
                <a:noFill/>
              </a:ln>
              <a:effectLst/>
            </a:endParaRPr>
          </a:p>
          <a:p>
            <a:pPr defTabSz="914400" eaLnBrk="0" fontAlgn="base" hangingPunct="0" indent="0" latinLnBrk="0" lvl="0" marL="0" marR="0" rtl="0">
              <a:spcBef>
                <a:spcPct val="0"/>
              </a:spcBef>
              <a:spcAft>
                <a:spcPts val="600"/>
              </a:spcAft>
              <a:buClrTx/>
              <a:buSzTx/>
              <a:buFontTx/>
              <a:buChar char="•"/>
              <a:tabLst/>
            </a:pPr>
            <a:r>
              <a:rPr altLang="en-US" b="1" baseline="0" cap="none" dirty="0" i="0" kumimoji="0" lang="en-US" normalizeH="0" strike="noStrike" sz="1600" u="none">
                <a:ln>
                  <a:noFill/>
                </a:ln>
                <a:effectLst/>
              </a:rPr>
              <a:t>Example</a:t>
            </a:r>
            <a:r>
              <a:rPr altLang="en-US" b="0" baseline="0" cap="none" dirty="0" i="0" kumimoji="0" lang="en-US" normalizeH="0" strike="noStrike" sz="1600" u="none">
                <a:ln>
                  <a:noFill/>
                </a:ln>
                <a:effectLst/>
              </a:rPr>
              <a:t>: A digital twin of a </a:t>
            </a:r>
            <a:r>
              <a:rPr altLang="en-US" b="1" baseline="0" cap="none" dirty="0" i="0" kumimoji="0" lang="en-US" normalizeH="0" strike="noStrike" sz="1600" u="none">
                <a:ln>
                  <a:noFill/>
                </a:ln>
                <a:effectLst/>
              </a:rPr>
              <a:t>fuel injector</a:t>
            </a:r>
            <a:r>
              <a:rPr altLang="en-US" b="0" baseline="0" cap="none" dirty="0" i="0" kumimoji="0" lang="en-US" normalizeH="0" strike="noStrike" sz="1600" u="none">
                <a:ln>
                  <a:noFill/>
                </a:ln>
                <a:effectLst/>
              </a:rPr>
              <a:t>, </a:t>
            </a:r>
            <a:r>
              <a:rPr altLang="en-US" b="1" baseline="0" cap="none" dirty="0" i="0" kumimoji="0" lang="en-US" normalizeH="0" strike="noStrike" sz="1600" u="none">
                <a:ln>
                  <a:noFill/>
                </a:ln>
                <a:effectLst/>
              </a:rPr>
              <a:t>brake pad</a:t>
            </a:r>
            <a:r>
              <a:rPr altLang="en-US" b="0" baseline="0" cap="none" dirty="0" i="0" kumimoji="0" lang="en-US" normalizeH="0" strike="noStrike" sz="1600" u="none">
                <a:ln>
                  <a:noFill/>
                </a:ln>
                <a:effectLst/>
              </a:rPr>
              <a:t>, or </a:t>
            </a:r>
            <a:r>
              <a:rPr altLang="en-US" b="1" baseline="0" cap="none" dirty="0" i="0" kumimoji="0" lang="en-US" normalizeH="0" strike="noStrike" sz="1600" u="none">
                <a:ln>
                  <a:noFill/>
                </a:ln>
                <a:effectLst/>
              </a:rPr>
              <a:t>battery cell</a:t>
            </a:r>
            <a:r>
              <a:rPr altLang="en-US" b="0" baseline="0" cap="none" dirty="0" i="0" kumimoji="0" lang="en-US" normalizeH="0" strike="noStrike" sz="1600" u="none">
                <a:ln>
                  <a:noFill/>
                </a:ln>
                <a:effectLst/>
              </a:rPr>
              <a:t> in an electric vehicle.</a:t>
            </a:r>
            <a:br>
              <a:rPr altLang="en-US" b="0" baseline="0" cap="none" dirty="0" i="0" kumimoji="0" lang="en-US" normalizeH="0" strike="noStrike" sz="1600" u="none">
                <a:ln>
                  <a:noFill/>
                </a:ln>
                <a:effectLst/>
              </a:rPr>
            </a:br>
            <a:endParaRPr altLang="en-US" b="0" baseline="0" cap="none" dirty="0" i="0" kumimoji="0" lang="en-US" normalizeH="0" strike="noStrike" sz="1600" u="none">
              <a:ln>
                <a:noFill/>
              </a:ln>
              <a:effectLst/>
            </a:endParaRPr>
          </a:p>
          <a:p>
            <a:pPr defTabSz="914400" eaLnBrk="0" fontAlgn="base" hangingPunct="0" indent="0" latinLnBrk="0" lvl="0" marL="0" marR="0" rtl="0">
              <a:spcBef>
                <a:spcPct val="0"/>
              </a:spcBef>
              <a:spcAft>
                <a:spcPts val="600"/>
              </a:spcAft>
              <a:buClrTx/>
              <a:buSzTx/>
              <a:buFontTx/>
              <a:buChar char="•"/>
              <a:tabLst/>
            </a:pPr>
            <a:r>
              <a:rPr altLang="en-US" b="1" baseline="0" cap="none" dirty="0" i="0" kumimoji="0" lang="en-US" normalizeH="0" strike="noStrike" sz="1600" u="none">
                <a:ln>
                  <a:noFill/>
                </a:ln>
                <a:effectLst/>
              </a:rPr>
              <a:t>Use Case</a:t>
            </a:r>
            <a:r>
              <a:rPr altLang="en-US" b="0" baseline="0" cap="none" dirty="0" i="0" kumimoji="0" lang="en-US" normalizeH="0" strike="noStrike" sz="1600" u="none">
                <a:ln>
                  <a:noFill/>
                </a:ln>
                <a:effectLst/>
              </a:rPr>
              <a:t>:</a:t>
            </a:r>
          </a:p>
          <a:p>
            <a:pPr eaLnBrk="0" fontAlgn="base" hangingPunct="0" indent="0" lvl="4">
              <a:spcBef>
                <a:spcPct val="0"/>
              </a:spcBef>
              <a:spcAft>
                <a:spcPts val="600"/>
              </a:spcAft>
              <a:buFontTx/>
              <a:buChar char="•"/>
            </a:pPr>
            <a:r>
              <a:rPr altLang="en-US" b="1" baseline="0" cap="none" dirty="0" i="0" kumimoji="0" lang="en-US" normalizeH="0" strike="noStrike" sz="1600" u="none">
                <a:ln>
                  <a:noFill/>
                </a:ln>
                <a:effectLst/>
              </a:rPr>
              <a:t>Predictive maintenance</a:t>
            </a:r>
            <a:r>
              <a:rPr altLang="en-US" b="0" baseline="0" cap="none" dirty="0" i="0" kumimoji="0" lang="en-US" normalizeH="0" strike="noStrike" sz="1600" u="none">
                <a:ln>
                  <a:noFill/>
                </a:ln>
                <a:effectLst/>
              </a:rPr>
              <a:t> (e.g., forecasting wear on brake pads).</a:t>
            </a:r>
          </a:p>
          <a:p>
            <a:pPr eaLnBrk="0" fontAlgn="base" hangingPunct="0" indent="0" lvl="4">
              <a:spcBef>
                <a:spcPct val="0"/>
              </a:spcBef>
              <a:spcAft>
                <a:spcPts val="600"/>
              </a:spcAft>
              <a:buFontTx/>
              <a:buChar char="•"/>
            </a:pPr>
            <a:r>
              <a:rPr altLang="en-US" b="1" baseline="0" cap="none" dirty="0" i="0" kumimoji="0" lang="en-US" normalizeH="0" strike="noStrike" sz="1600" u="none">
                <a:ln>
                  <a:noFill/>
                </a:ln>
                <a:effectLst/>
              </a:rPr>
              <a:t>Performance monitoring</a:t>
            </a:r>
            <a:r>
              <a:rPr altLang="en-US" b="0" baseline="0" cap="none" dirty="0" i="0" kumimoji="0" lang="en-US" normalizeH="0" strike="noStrike" sz="1600" u="none">
                <a:ln>
                  <a:noFill/>
                </a:ln>
                <a:effectLst/>
              </a:rPr>
              <a:t> (e.g., injector spray pattern analysis).</a:t>
            </a:r>
          </a:p>
          <a:p>
            <a:pPr defTabSz="914400" eaLnBrk="0" fontAlgn="base" hangingPunct="0" indent="0" latinLnBrk="0" lvl="0" marL="0" marR="0" rtl="0">
              <a:spcBef>
                <a:spcPct val="0"/>
              </a:spcBef>
              <a:spcAft>
                <a:spcPts val="600"/>
              </a:spcAft>
              <a:buClrTx/>
              <a:buSzTx/>
              <a:buFontTx/>
              <a:buNone/>
              <a:tabLst/>
            </a:pPr>
            <a:endParaRPr altLang="en-US" b="0" baseline="0" cap="none" dirty="0" i="0" kumimoji="0" lang="en-US" normalizeH="0" strike="noStrike" u="none">
              <a:ln>
                <a:noFill/>
              </a:ln>
              <a:effectLst/>
            </a:endParaRPr>
          </a:p>
        </p:txBody>
      </p:sp>
      <p:pic>
        <p:nvPicPr>
          <p:cNvPr descr="Mage media" id="1032" name="Picture 8">
            <a:extLst>
              <a:ext uri="{FF2B5EF4-FFF2-40B4-BE49-F238E27FC236}">
                <a16:creationId xmlns:a16="http://schemas.microsoft.com/office/drawing/2014/main" id="{9F26D0C8-434B-F993-2959-44E9868F1A76}"/>
              </a:ext>
            </a:extLst>
          </p:cNvPr>
          <p:cNvPicPr>
            <a:picLocks noChangeArrowheads="1" noChangeAspect="1"/>
          </p:cNvPicPr>
          <p:nvPr/>
        </p:nvPicPr>
        <p:blipFill>
          <a:blip r:embed="rId3">
            <a:extLst>
              <a:ext uri="{28A0092B-C50C-407E-A947-70E740481C1C}">
                <a14:useLocalDpi xmlns:a14="http://schemas.microsoft.com/office/drawing/2010/main" val="0"/>
              </a:ext>
            </a:extLst>
          </a:blip>
          <a:srcRect b="68" r="-1" t="65"/>
          <a:stretch>
            <a:fillRect/>
          </a:stretch>
        </p:blipFill>
        <p:spPr bwMode="auto">
          <a:xfrm>
            <a:off x="20" y="10"/>
            <a:ext cx="6095980" cy="6857990"/>
          </a:xfrm>
          <a:prstGeom prst="rect">
            <a:avLst/>
          </a:prstGeom>
          <a:solidFill>
            <a:srgbClr val="FFFFFF"/>
          </a:solidFill>
        </p:spPr>
      </p:pic>
      <p:sp>
        <p:nvSpPr>
          <p:cNvPr id="5" name="Title 4">
            <a:extLst>
              <a:ext uri="{FF2B5EF4-FFF2-40B4-BE49-F238E27FC236}">
                <a16:creationId xmlns:a16="http://schemas.microsoft.com/office/drawing/2014/main" id="{5B455FE1-886E-277D-9440-8E627E6914BC}"/>
              </a:ext>
            </a:extLst>
          </p:cNvPr>
          <p:cNvSpPr>
            <a:spLocks noGrp="1"/>
          </p:cNvSpPr>
          <p:nvPr>
            <p:ph type="title"/>
          </p:nvPr>
        </p:nvSpPr>
        <p:spPr>
          <a:xfrm>
            <a:off x="6359415" y="620688"/>
            <a:ext cx="5063967" cy="792163"/>
          </a:xfrm>
        </p:spPr>
        <p:txBody>
          <a:bodyPr anchor="b">
            <a:normAutofit/>
          </a:bodyPr>
          <a:lstStyle/>
          <a:p>
            <a:r>
              <a:rPr b="1" dirty="0" i="0" lang="en-US">
                <a:effectLst/>
              </a:rPr>
              <a:t>1.Component or Part Twin</a:t>
            </a:r>
            <a:br>
              <a:rPr b="1" dirty="0" i="0" lang="en-US">
                <a:effectLst/>
              </a:rPr>
            </a:br>
            <a:endParaRPr dirty="0" lang="en-IN"/>
          </a:p>
        </p:txBody>
      </p:sp>
    </p:spTree>
    <p:extLst>
      <p:ext uri="{BB962C8B-B14F-4D97-AF65-F5344CB8AC3E}">
        <p14:creationId xmlns:p14="http://schemas.microsoft.com/office/powerpoint/2010/main" val="611016860"/>
      </p:ext>
    </p:extLst>
  </p:cSld>
  <p:clrMapOvr>
    <a:masterClrMapping/>
  </p:clrMapOvr>
</p:sld>
</file>

<file path=ppt/slides/slide18.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CBB4BF37-38C4-1E56-2546-5EC40A44340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55DC60B-73AF-7093-67E8-BE4393C34D13}"/>
              </a:ext>
            </a:extLst>
          </p:cNvPr>
          <p:cNvSpPr>
            <a:spLocks noGrp="1"/>
          </p:cNvSpPr>
          <p:nvPr>
            <p:ph type="title"/>
          </p:nvPr>
        </p:nvSpPr>
        <p:spPr>
          <a:xfrm>
            <a:off x="6384032" y="548680"/>
            <a:ext cx="5063967" cy="792163"/>
          </a:xfrm>
        </p:spPr>
        <p:txBody>
          <a:bodyPr/>
          <a:lstStyle/>
          <a:p>
            <a:r>
              <a:rPr b="1" dirty="0" i="0" lang="en-IN">
                <a:effectLst/>
                <a:latin typeface="Segoe Sans"/>
              </a:rPr>
              <a:t>2. Asset Twin</a:t>
            </a:r>
            <a:br>
              <a:rPr b="1" dirty="0" i="0" lang="en-IN">
                <a:solidFill>
                  <a:srgbClr val="D6D6D6"/>
                </a:solidFill>
                <a:effectLst/>
                <a:latin typeface="Segoe Sans"/>
              </a:rPr>
            </a:br>
            <a:endParaRPr dirty="0" lang="en-IN"/>
          </a:p>
        </p:txBody>
      </p:sp>
      <p:sp>
        <p:nvSpPr>
          <p:cNvPr id="6" name="Rectangle 2">
            <a:extLst>
              <a:ext uri="{FF2B5EF4-FFF2-40B4-BE49-F238E27FC236}">
                <a16:creationId xmlns:a16="http://schemas.microsoft.com/office/drawing/2014/main" id="{16AF2C0A-8A42-3FA3-A683-407B5DCE987B}"/>
              </a:ext>
            </a:extLst>
          </p:cNvPr>
          <p:cNvSpPr>
            <a:spLocks noChangeArrowheads="1" noGrp="1"/>
          </p:cNvSpPr>
          <p:nvPr>
            <p:ph idx="17" sz="quarter" type="body"/>
          </p:nvPr>
        </p:nvSpPr>
        <p:spPr bwMode="auto">
          <a:xfrm>
            <a:off x="6528048" y="1458942"/>
            <a:ext cx="5425215" cy="304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p>
            <a:pPr algn="l" defTabSz="914400" eaLnBrk="0" fontAlgn="base" hangingPunct="0" indent="0" latinLnBrk="0" lvl="0" marL="0" marR="0" rtl="0">
              <a:lnSpc>
                <a:spcPct val="100000"/>
              </a:lnSpc>
              <a:spcBef>
                <a:spcPct val="0"/>
              </a:spcBef>
              <a:spcAft>
                <a:spcPct val="0"/>
              </a:spcAft>
              <a:buClrTx/>
              <a:buSzTx/>
              <a:buFontTx/>
              <a:buChar char="•"/>
              <a:tabLst/>
            </a:pPr>
            <a:r>
              <a:rPr altLang="en-US" b="1" baseline="0" cap="none" dirty="0" i="0" kumimoji="0" lang="en-US" normalizeH="0" strike="noStrike" sz="1600" u="none">
                <a:ln>
                  <a:noFill/>
                </a:ln>
                <a:solidFill>
                  <a:schemeClr val="tx1"/>
                </a:solidFill>
                <a:effectLst/>
                <a:latin charset="0" panose="020B0604020202020204" pitchFamily="34" typeface="Arial"/>
              </a:rPr>
              <a:t>Definition</a:t>
            </a:r>
            <a:r>
              <a:rPr altLang="en-US" b="0" baseline="0" cap="none" dirty="0" i="0" kumimoji="0" lang="en-US" normalizeH="0" strike="noStrike" sz="1600" u="none">
                <a:ln>
                  <a:noFill/>
                </a:ln>
                <a:solidFill>
                  <a:schemeClr val="tx1"/>
                </a:solidFill>
                <a:effectLst/>
                <a:latin charset="0" panose="020B0604020202020204" pitchFamily="34" typeface="Arial"/>
              </a:rPr>
              <a:t>: Represents an </a:t>
            </a:r>
            <a:r>
              <a:rPr altLang="en-US" b="1" baseline="0" cap="none" dirty="0" i="0" kumimoji="0" lang="en-US" normalizeH="0" strike="noStrike" sz="1600" u="none">
                <a:ln>
                  <a:noFill/>
                </a:ln>
                <a:solidFill>
                  <a:schemeClr val="tx1"/>
                </a:solidFill>
                <a:effectLst/>
                <a:latin charset="0" panose="020B0604020202020204" pitchFamily="34" typeface="Arial"/>
              </a:rPr>
              <a:t>entire automotive subsystem</a:t>
            </a:r>
            <a:r>
              <a:rPr altLang="en-US" b="0" baseline="0" cap="none" dirty="0" i="0" kumimoji="0" lang="en-US" normalizeH="0" strike="noStrike" sz="1600" u="none">
                <a:ln>
                  <a:noFill/>
                </a:ln>
                <a:solidFill>
                  <a:schemeClr val="tx1"/>
                </a:solidFill>
                <a:effectLst/>
                <a:latin charset="0" panose="020B0604020202020204" pitchFamily="34" typeface="Arial"/>
              </a:rPr>
              <a:t> made up of multiple components.</a:t>
            </a:r>
          </a:p>
          <a:p>
            <a:pPr algn="l" defTabSz="914400" eaLnBrk="0" fontAlgn="base" hangingPunct="0" indent="0" latinLnBrk="0" lvl="0" marL="0" marR="0" rtl="0">
              <a:lnSpc>
                <a:spcPct val="100000"/>
              </a:lnSpc>
              <a:spcBef>
                <a:spcPct val="0"/>
              </a:spcBef>
              <a:spcAft>
                <a:spcPct val="0"/>
              </a:spcAft>
              <a:buClrTx/>
              <a:buSzTx/>
              <a:buFontTx/>
              <a:buChar char="•"/>
              <a:tabLst/>
            </a:pPr>
            <a:endParaRPr altLang="en-US" b="0" baseline="0" cap="none" dirty="0" i="0" kumimoji="0" lang="en-US" normalizeH="0" strike="noStrike" sz="1600" u="none">
              <a:ln>
                <a:noFill/>
              </a:ln>
              <a:solidFill>
                <a:schemeClr val="tx1"/>
              </a:solidFill>
              <a:effectLst/>
              <a:latin charset="0" panose="020B0604020202020204" pitchFamily="34" typeface="Arial"/>
            </a:endParaRPr>
          </a:p>
          <a:p>
            <a:pPr algn="l" defTabSz="914400" eaLnBrk="0" fontAlgn="base" hangingPunct="0" indent="0" latinLnBrk="0" lvl="0" marL="0" marR="0" rtl="0">
              <a:lnSpc>
                <a:spcPct val="100000"/>
              </a:lnSpc>
              <a:spcBef>
                <a:spcPct val="0"/>
              </a:spcBef>
              <a:spcAft>
                <a:spcPct val="0"/>
              </a:spcAft>
              <a:buClrTx/>
              <a:buSzTx/>
              <a:buFontTx/>
              <a:buChar char="•"/>
              <a:tabLst/>
            </a:pPr>
            <a:r>
              <a:rPr altLang="en-US" b="1" baseline="0" cap="none" dirty="0" i="0" kumimoji="0" lang="en-US" normalizeH="0" strike="noStrike" sz="1600" u="none">
                <a:ln>
                  <a:noFill/>
                </a:ln>
                <a:solidFill>
                  <a:schemeClr val="tx1"/>
                </a:solidFill>
                <a:effectLst/>
                <a:latin charset="0" panose="020B0604020202020204" pitchFamily="34" typeface="Arial"/>
              </a:rPr>
              <a:t>Example</a:t>
            </a:r>
            <a:r>
              <a:rPr altLang="en-US" b="0" baseline="0" cap="none" dirty="0" i="0" kumimoji="0" lang="en-US" normalizeH="0" strike="noStrike" sz="1600" u="none">
                <a:ln>
                  <a:noFill/>
                </a:ln>
                <a:solidFill>
                  <a:schemeClr val="tx1"/>
                </a:solidFill>
                <a:effectLst/>
                <a:latin charset="0" panose="020B0604020202020204" pitchFamily="34" typeface="Arial"/>
              </a:rPr>
              <a:t>: A digital twin of a </a:t>
            </a:r>
            <a:r>
              <a:rPr altLang="en-US" b="1" baseline="0" cap="none" dirty="0" i="0" kumimoji="0" lang="en-US" normalizeH="0" strike="noStrike" sz="1600" u="none">
                <a:ln>
                  <a:noFill/>
                </a:ln>
                <a:solidFill>
                  <a:schemeClr val="tx1"/>
                </a:solidFill>
                <a:effectLst/>
                <a:latin charset="0" panose="020B0604020202020204" pitchFamily="34" typeface="Arial"/>
              </a:rPr>
              <a:t>car engine</a:t>
            </a:r>
            <a:r>
              <a:rPr altLang="en-US" b="0" baseline="0" cap="none" dirty="0" i="0" kumimoji="0" lang="en-US" normalizeH="0" strike="noStrike" sz="1600" u="none">
                <a:ln>
                  <a:noFill/>
                </a:ln>
                <a:solidFill>
                  <a:schemeClr val="tx1"/>
                </a:solidFill>
                <a:effectLst/>
                <a:latin charset="0" panose="020B0604020202020204" pitchFamily="34" typeface="Arial"/>
              </a:rPr>
              <a:t>, </a:t>
            </a:r>
            <a:r>
              <a:rPr altLang="en-US" b="1" baseline="0" cap="none" dirty="0" i="0" kumimoji="0" lang="en-US" normalizeH="0" strike="noStrike" sz="1600" u="none">
                <a:ln>
                  <a:noFill/>
                </a:ln>
                <a:solidFill>
                  <a:schemeClr val="tx1"/>
                </a:solidFill>
                <a:effectLst/>
                <a:latin charset="0" panose="020B0604020202020204" pitchFamily="34" typeface="Arial"/>
              </a:rPr>
              <a:t>transmission system</a:t>
            </a:r>
            <a:r>
              <a:rPr altLang="en-US" b="0" baseline="0" cap="none" dirty="0" i="0" kumimoji="0" lang="en-US" normalizeH="0" strike="noStrike" sz="1600" u="none">
                <a:ln>
                  <a:noFill/>
                </a:ln>
                <a:solidFill>
                  <a:schemeClr val="tx1"/>
                </a:solidFill>
                <a:effectLst/>
                <a:latin charset="0" panose="020B0604020202020204" pitchFamily="34" typeface="Arial"/>
              </a:rPr>
              <a:t>, or </a:t>
            </a:r>
            <a:r>
              <a:rPr altLang="en-US" b="1" baseline="0" cap="none" dirty="0" i="0" kumimoji="0" lang="en-US" normalizeH="0" strike="noStrike" sz="1600" u="none">
                <a:ln>
                  <a:noFill/>
                </a:ln>
                <a:solidFill>
                  <a:schemeClr val="tx1"/>
                </a:solidFill>
                <a:effectLst/>
                <a:latin charset="0" panose="020B0604020202020204" pitchFamily="34" typeface="Arial"/>
              </a:rPr>
              <a:t>electric motor assembly</a:t>
            </a:r>
            <a:r>
              <a:rPr altLang="en-US" b="0" baseline="0" cap="none" dirty="0" i="0" kumimoji="0" lang="en-US" normalizeH="0" strike="noStrike" sz="1600" u="none">
                <a:ln>
                  <a:noFill/>
                </a:ln>
                <a:solidFill>
                  <a:schemeClr val="tx1"/>
                </a:solidFill>
                <a:effectLst/>
                <a:latin charset="0" panose="020B0604020202020204" pitchFamily="34" typeface="Arial"/>
              </a:rPr>
              <a:t>.</a:t>
            </a:r>
            <a:br>
              <a:rPr altLang="en-US" b="0" baseline="0" cap="none" dirty="0" i="0" kumimoji="0" lang="en-US" normalizeH="0" strike="noStrike" sz="1600" u="none">
                <a:ln>
                  <a:noFill/>
                </a:ln>
                <a:solidFill>
                  <a:schemeClr val="tx1"/>
                </a:solidFill>
                <a:effectLst/>
                <a:latin charset="0" panose="020B0604020202020204" pitchFamily="34" typeface="Arial"/>
              </a:rPr>
            </a:br>
            <a:endParaRPr altLang="en-US" b="0" baseline="0" cap="none" dirty="0" i="0" kumimoji="0" lang="en-US" normalizeH="0" strike="noStrike" sz="1600" u="none">
              <a:ln>
                <a:noFill/>
              </a:ln>
              <a:solidFill>
                <a:schemeClr val="tx1"/>
              </a:solidFill>
              <a:effectLst/>
              <a:latin charset="0" panose="020B0604020202020204" pitchFamily="34" typeface="Arial"/>
            </a:endParaRPr>
          </a:p>
          <a:p>
            <a:pPr algn="l" defTabSz="914400" eaLnBrk="0" fontAlgn="base" hangingPunct="0" indent="0" latinLnBrk="0" lvl="0" marL="0" marR="0" rtl="0">
              <a:lnSpc>
                <a:spcPct val="100000"/>
              </a:lnSpc>
              <a:spcBef>
                <a:spcPct val="0"/>
              </a:spcBef>
              <a:spcAft>
                <a:spcPct val="0"/>
              </a:spcAft>
              <a:buClrTx/>
              <a:buSzTx/>
              <a:buFontTx/>
              <a:buChar char="•"/>
              <a:tabLst/>
            </a:pPr>
            <a:r>
              <a:rPr altLang="en-US" b="1" baseline="0" cap="none" dirty="0" i="0" kumimoji="0" lang="en-US" normalizeH="0" strike="noStrike" sz="1600" u="none">
                <a:ln>
                  <a:noFill/>
                </a:ln>
                <a:solidFill>
                  <a:schemeClr val="tx1"/>
                </a:solidFill>
                <a:effectLst/>
                <a:latin charset="0" panose="020B0604020202020204" pitchFamily="34" typeface="Arial"/>
              </a:rPr>
              <a:t>Use Case</a:t>
            </a:r>
            <a:r>
              <a:rPr altLang="en-US" b="0" baseline="0" cap="none" dirty="0" i="0" kumimoji="0" lang="en-US" normalizeH="0" strike="noStrike" sz="1600" u="none">
                <a:ln>
                  <a:noFill/>
                </a:ln>
                <a:solidFill>
                  <a:schemeClr val="tx1"/>
                </a:solidFill>
                <a:effectLst/>
                <a:latin charset="0" panose="020B0604020202020204" pitchFamily="34" typeface="Arial"/>
              </a:rPr>
              <a:t>:</a:t>
            </a:r>
          </a:p>
          <a:p>
            <a:pPr eaLnBrk="0" fontAlgn="base" hangingPunct="0" indent="0" lvl="4">
              <a:spcBef>
                <a:spcPct val="0"/>
              </a:spcBef>
              <a:spcAft>
                <a:spcPct val="0"/>
              </a:spcAft>
              <a:buFontTx/>
              <a:buChar char="•"/>
            </a:pPr>
            <a:r>
              <a:rPr altLang="en-US" b="1" baseline="0" cap="none" dirty="0" i="0" kumimoji="0" lang="en-US" normalizeH="0" strike="noStrike" sz="1600" u="none">
                <a:ln>
                  <a:noFill/>
                </a:ln>
                <a:solidFill>
                  <a:schemeClr val="tx1"/>
                </a:solidFill>
                <a:effectLst/>
                <a:latin charset="0" panose="020B0604020202020204" pitchFamily="34" typeface="Arial"/>
              </a:rPr>
              <a:t>Lifecycle monitoring</a:t>
            </a:r>
            <a:r>
              <a:rPr altLang="en-US" b="0" baseline="0" cap="none" dirty="0" i="0" kumimoji="0" lang="en-US" normalizeH="0" strike="noStrike" sz="1600" u="none">
                <a:ln>
                  <a:noFill/>
                </a:ln>
                <a:solidFill>
                  <a:schemeClr val="tx1"/>
                </a:solidFill>
                <a:effectLst/>
                <a:latin charset="0" panose="020B0604020202020204" pitchFamily="34" typeface="Arial"/>
              </a:rPr>
              <a:t> (e.g., engine health over time).</a:t>
            </a:r>
          </a:p>
          <a:p>
            <a:pPr eaLnBrk="0" fontAlgn="base" hangingPunct="0" indent="0" lvl="4">
              <a:spcBef>
                <a:spcPct val="0"/>
              </a:spcBef>
              <a:spcAft>
                <a:spcPct val="0"/>
              </a:spcAft>
              <a:buFontTx/>
              <a:buChar char="•"/>
            </a:pPr>
            <a:r>
              <a:rPr altLang="en-US" b="1" baseline="0" cap="none" dirty="0" i="0" kumimoji="0" lang="en-US" normalizeH="0" strike="noStrike" sz="1600" u="none">
                <a:ln>
                  <a:noFill/>
                </a:ln>
                <a:solidFill>
                  <a:schemeClr val="tx1"/>
                </a:solidFill>
                <a:effectLst/>
                <a:latin charset="0" panose="020B0604020202020204" pitchFamily="34" typeface="Arial"/>
              </a:rPr>
              <a:t>Subsystem performance optimization</a:t>
            </a:r>
            <a:r>
              <a:rPr altLang="en-US" b="0" baseline="0" cap="none" dirty="0" i="0" kumimoji="0" lang="en-US" normalizeH="0" strike="noStrike" sz="1600" u="none">
                <a:ln>
                  <a:noFill/>
                </a:ln>
                <a:solidFill>
                  <a:schemeClr val="tx1"/>
                </a:solidFill>
                <a:effectLst/>
                <a:latin charset="0" panose="020B0604020202020204" pitchFamily="34" typeface="Arial"/>
              </a:rPr>
              <a:t> (e.g., improving combustion efficiency).</a:t>
            </a:r>
          </a:p>
          <a:p>
            <a:pPr algn="l" defTabSz="914400" eaLnBrk="0" fontAlgn="base" hangingPunct="0" indent="0" latinLnBrk="0" lvl="0" marL="0" marR="0" rtl="0">
              <a:lnSpc>
                <a:spcPct val="100000"/>
              </a:lnSpc>
              <a:spcBef>
                <a:spcPct val="0"/>
              </a:spcBef>
              <a:spcAft>
                <a:spcPct val="0"/>
              </a:spcAft>
              <a:buClrTx/>
              <a:buSzTx/>
              <a:buFontTx/>
              <a:buNone/>
              <a:tabLst/>
            </a:pPr>
            <a:endParaRPr altLang="en-US" b="1" dirty="0" lang="en-US" sz="1600"/>
          </a:p>
        </p:txBody>
      </p:sp>
      <p:pic>
        <p:nvPicPr>
          <p:cNvPr descr="Mage media" id="2052" name="Picture 4">
            <a:extLst>
              <a:ext uri="{FF2B5EF4-FFF2-40B4-BE49-F238E27FC236}">
                <a16:creationId xmlns:a16="http://schemas.microsoft.com/office/drawing/2014/main" id="{162E207F-462A-9C22-3A7D-39F48154AD42}"/>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xfrm>
            <a:off x="13647" y="11306"/>
            <a:ext cx="6096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5543534"/>
      </p:ext>
    </p:extLst>
  </p:cSld>
  <p:clrMapOvr>
    <a:masterClrMapping/>
  </p:clrMapOvr>
</p:sld>
</file>

<file path=ppt/slides/slide19.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203F0CDA-C221-8945-5EF0-B6859E0F2B9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460AC083-9F1E-7CB9-E54E-D8A3E0302FB0}"/>
              </a:ext>
            </a:extLst>
          </p:cNvPr>
          <p:cNvSpPr>
            <a:spLocks noGrp="1"/>
          </p:cNvSpPr>
          <p:nvPr>
            <p:ph idx="17" sz="quarter" type="body"/>
          </p:nvPr>
        </p:nvSpPr>
        <p:spPr/>
        <p:txBody>
          <a:bodyPr/>
          <a:lstStyle/>
          <a:p>
            <a:pPr>
              <a:buFont charset="0" panose="020B0604020202020204" pitchFamily="34" typeface="Arial"/>
              <a:buChar char="•"/>
            </a:pPr>
            <a:r>
              <a:rPr b="1" dirty="0" lang="en-IN" sz="1600"/>
              <a:t>Definition</a:t>
            </a:r>
            <a:r>
              <a:rPr dirty="0" lang="en-IN" sz="1600"/>
              <a:t>: Represents an </a:t>
            </a:r>
            <a:r>
              <a:rPr b="1" dirty="0" lang="en-IN" sz="1600"/>
              <a:t>integrated system</a:t>
            </a:r>
            <a:r>
              <a:rPr dirty="0" lang="en-IN" sz="1600"/>
              <a:t> in the vehicle, combining several assets.</a:t>
            </a:r>
          </a:p>
          <a:p>
            <a:pPr>
              <a:buFont charset="0" panose="020B0604020202020204" pitchFamily="34" typeface="Arial"/>
              <a:buChar char="•"/>
            </a:pPr>
            <a:r>
              <a:rPr b="1" dirty="0" lang="en-IN" sz="1600"/>
              <a:t>Example</a:t>
            </a:r>
            <a:r>
              <a:rPr dirty="0" lang="en-IN" sz="1600"/>
              <a:t>: A digital twin of the </a:t>
            </a:r>
            <a:r>
              <a:rPr b="1" dirty="0" lang="en-IN" sz="1600"/>
              <a:t>vehicle drivetrain</a:t>
            </a:r>
            <a:r>
              <a:rPr dirty="0" lang="en-IN" sz="1600"/>
              <a:t>, </a:t>
            </a:r>
            <a:r>
              <a:rPr b="1" dirty="0" lang="en-IN" sz="1600"/>
              <a:t>ADAS (Advanced Driver Assistance System)</a:t>
            </a:r>
            <a:r>
              <a:rPr dirty="0" lang="en-IN" sz="1600"/>
              <a:t>, or </a:t>
            </a:r>
            <a:r>
              <a:rPr b="1" dirty="0" lang="en-IN" sz="1600"/>
              <a:t>infotainment system</a:t>
            </a:r>
            <a:r>
              <a:rPr dirty="0" lang="en-IN" sz="1600"/>
              <a:t>.</a:t>
            </a:r>
          </a:p>
          <a:p>
            <a:pPr>
              <a:buFont charset="0" panose="020B0604020202020204" pitchFamily="34" typeface="Arial"/>
              <a:buChar char="•"/>
            </a:pPr>
            <a:r>
              <a:rPr b="1" dirty="0" lang="en-IN" sz="1600"/>
              <a:t>Use Case</a:t>
            </a:r>
            <a:r>
              <a:rPr dirty="0" lang="en-IN" sz="1600"/>
              <a:t>:</a:t>
            </a:r>
          </a:p>
          <a:p>
            <a:pPr indent="-285750" lvl="1" marL="742950">
              <a:buFont charset="0" panose="020B0604020202020204" pitchFamily="34" typeface="Arial"/>
              <a:buChar char="•"/>
            </a:pPr>
            <a:r>
              <a:rPr b="1" dirty="0" lang="en-IN" sz="1600"/>
              <a:t>System-level diagnostics</a:t>
            </a:r>
            <a:r>
              <a:rPr dirty="0" lang="en-IN" sz="1600"/>
              <a:t> (e.g., fault detection in ADAS).</a:t>
            </a:r>
          </a:p>
          <a:p>
            <a:pPr indent="-285750" lvl="1" marL="742950">
              <a:buFont charset="0" panose="020B0604020202020204" pitchFamily="34" typeface="Arial"/>
              <a:buChar char="•"/>
            </a:pPr>
            <a:r>
              <a:rPr b="1" dirty="0" lang="en-IN" sz="1600"/>
              <a:t>Optimization of vehicle performance</a:t>
            </a:r>
            <a:r>
              <a:rPr dirty="0" lang="en-IN" sz="1600"/>
              <a:t> (e.g., tuning power delivery across drivetrain).</a:t>
            </a:r>
          </a:p>
          <a:p>
            <a:endParaRPr dirty="0" lang="en-IN"/>
          </a:p>
        </p:txBody>
      </p:sp>
      <p:sp>
        <p:nvSpPr>
          <p:cNvPr id="5" name="Title 4">
            <a:extLst>
              <a:ext uri="{FF2B5EF4-FFF2-40B4-BE49-F238E27FC236}">
                <a16:creationId xmlns:a16="http://schemas.microsoft.com/office/drawing/2014/main" id="{7CC6A76F-BF1B-5C69-5687-5FD770245E65}"/>
              </a:ext>
            </a:extLst>
          </p:cNvPr>
          <p:cNvSpPr>
            <a:spLocks noGrp="1"/>
          </p:cNvSpPr>
          <p:nvPr>
            <p:ph type="title"/>
          </p:nvPr>
        </p:nvSpPr>
        <p:spPr>
          <a:xfrm>
            <a:off x="6384031" y="692696"/>
            <a:ext cx="5063967" cy="792163"/>
          </a:xfrm>
        </p:spPr>
        <p:txBody>
          <a:bodyPr/>
          <a:lstStyle/>
          <a:p>
            <a:r>
              <a:rPr b="1" dirty="0" lang="en-IN"/>
              <a:t>3. System or Unit Twin</a:t>
            </a:r>
            <a:br>
              <a:rPr b="1" dirty="0" lang="en-IN"/>
            </a:br>
            <a:endParaRPr dirty="0" lang="en-IN"/>
          </a:p>
        </p:txBody>
      </p:sp>
      <p:pic>
        <p:nvPicPr>
          <p:cNvPr descr="Mage media" id="3074" name="Picture 2">
            <a:extLst>
              <a:ext uri="{FF2B5EF4-FFF2-40B4-BE49-F238E27FC236}">
                <a16:creationId xmlns:a16="http://schemas.microsoft.com/office/drawing/2014/main" id="{F81D2FDE-7FEB-0362-610E-0C4A712D48D1}"/>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1744402"/>
      </p:ext>
    </p:extLst>
  </p:cSld>
  <p:clrMapOvr>
    <a:masterClrMapping/>
  </p:clrMapOvr>
</p:sld>
</file>

<file path=ppt/slides/slide2.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EED96DD-0340-48A5-BA08-9D1265F1B26F}"/>
              </a:ext>
            </a:extLst>
          </p:cNvPr>
          <p:cNvSpPr>
            <a:spLocks noGrp="1"/>
          </p:cNvSpPr>
          <p:nvPr>
            <p:ph idx="17" sz="quarter" type="body"/>
          </p:nvPr>
        </p:nvSpPr>
        <p:spPr>
          <a:xfrm>
            <a:off x="6384032" y="1627200"/>
            <a:ext cx="5063967" cy="4825988"/>
          </a:xfrm>
        </p:spPr>
        <p:txBody>
          <a:bodyPr>
            <a:normAutofit/>
          </a:bodyPr>
          <a:lstStyle/>
          <a:p>
            <a:pPr indent="-228600" marL="228600">
              <a:buFont typeface="+mj-lt"/>
              <a:buAutoNum type="arabicPeriod"/>
            </a:pPr>
            <a:endParaRPr dirty="0" lang="en-US">
              <a:latin charset="0" panose="02040504050005020304" pitchFamily="18" typeface="Amasis MT Pro"/>
            </a:endParaRPr>
          </a:p>
          <a:p>
            <a:pPr indent="-228600" marL="228600">
              <a:buFont typeface="+mj-lt"/>
              <a:buAutoNum type="arabicPeriod"/>
            </a:pPr>
            <a:r>
              <a:rPr dirty="0" lang="en-US" sz="1800">
                <a:latin charset="0" panose="02040504050005020304" pitchFamily="18" typeface="Amasis MT Pro"/>
              </a:rPr>
              <a:t>Introduction</a:t>
            </a:r>
          </a:p>
          <a:p>
            <a:pPr indent="-228600" marL="228600">
              <a:buFont typeface="+mj-lt"/>
              <a:buAutoNum type="arabicPeriod"/>
            </a:pPr>
            <a:r>
              <a:rPr dirty="0" lang="en-US" sz="1800">
                <a:latin charset="0" panose="02040504050005020304" pitchFamily="18" typeface="Amasis MT Pro"/>
              </a:rPr>
              <a:t>Key Components</a:t>
            </a:r>
          </a:p>
          <a:p>
            <a:pPr indent="-228600" marL="228600">
              <a:buFont typeface="+mj-lt"/>
              <a:buAutoNum type="arabicPeriod"/>
            </a:pPr>
            <a:r>
              <a:rPr dirty="0" lang="en-US" sz="1800">
                <a:latin charset="0" panose="02040504050005020304" pitchFamily="18" typeface="Amasis MT Pro"/>
              </a:rPr>
              <a:t>Types of Digital Twins in Automotive</a:t>
            </a:r>
          </a:p>
          <a:p>
            <a:pPr indent="-228600" marL="228600">
              <a:buFont typeface="+mj-lt"/>
              <a:buAutoNum type="arabicPeriod"/>
            </a:pPr>
            <a:r>
              <a:rPr dirty="0" lang="en-US" sz="1800">
                <a:latin charset="0" panose="02040504050005020304" pitchFamily="18" typeface="Amasis MT Pro"/>
              </a:rPr>
              <a:t>Applications</a:t>
            </a:r>
          </a:p>
          <a:p>
            <a:pPr indent="-228600" marL="228600">
              <a:buFont typeface="+mj-lt"/>
              <a:buAutoNum type="arabicPeriod"/>
            </a:pPr>
            <a:r>
              <a:rPr dirty="0" lang="en-US" sz="1800">
                <a:latin charset="0" panose="02040504050005020304" pitchFamily="18" typeface="Amasis MT Pro"/>
              </a:rPr>
              <a:t>Enabling Technologies</a:t>
            </a:r>
          </a:p>
          <a:p>
            <a:pPr indent="-228600" marL="228600">
              <a:buFont typeface="+mj-lt"/>
              <a:buAutoNum type="arabicPeriod"/>
            </a:pPr>
            <a:r>
              <a:rPr dirty="0" lang="en-US" sz="1800">
                <a:latin charset="0" panose="02040504050005020304" pitchFamily="18" typeface="Amasis MT Pro"/>
              </a:rPr>
              <a:t>Industry Examples</a:t>
            </a:r>
          </a:p>
          <a:p>
            <a:pPr indent="-228600" marL="228600">
              <a:buFont typeface="+mj-lt"/>
              <a:buAutoNum type="arabicPeriod"/>
            </a:pPr>
            <a:r>
              <a:rPr dirty="0" lang="en-US" sz="1800">
                <a:latin charset="0" panose="02040504050005020304" pitchFamily="18" typeface="Amasis MT Pro"/>
              </a:rPr>
              <a:t>Benefits</a:t>
            </a:r>
          </a:p>
          <a:p>
            <a:pPr indent="-228600" marL="228600">
              <a:buFont typeface="+mj-lt"/>
              <a:buAutoNum type="arabicPeriod"/>
            </a:pPr>
            <a:r>
              <a:rPr dirty="0" lang="en-US" sz="1800">
                <a:latin charset="0" panose="02040504050005020304" pitchFamily="18" typeface="Amasis MT Pro"/>
              </a:rPr>
              <a:t>Challenges</a:t>
            </a:r>
          </a:p>
          <a:p>
            <a:pPr indent="-228600" marL="228600">
              <a:buFont typeface="+mj-lt"/>
              <a:buAutoNum type="arabicPeriod"/>
            </a:pPr>
            <a:r>
              <a:rPr dirty="0" lang="en-US" sz="1800">
                <a:latin charset="0" panose="02040504050005020304" pitchFamily="18" typeface="Amasis MT Pro"/>
              </a:rPr>
              <a:t>Future Outlook</a:t>
            </a:r>
          </a:p>
          <a:p>
            <a:pPr indent="-228600" marL="228600">
              <a:buFont typeface="+mj-lt"/>
              <a:buAutoNum type="arabicPeriod"/>
            </a:pPr>
            <a:r>
              <a:rPr dirty="0" lang="en-US" sz="1800">
                <a:latin charset="0" panose="02040504050005020304" pitchFamily="18" typeface="Amasis MT Pro"/>
              </a:rPr>
              <a:t>Conclusion</a:t>
            </a:r>
          </a:p>
        </p:txBody>
      </p:sp>
      <p:pic>
        <p:nvPicPr>
          <p:cNvPr descr="Mage media" id="9218" name="Picture 2">
            <a:extLst>
              <a:ext uri="{FF2B5EF4-FFF2-40B4-BE49-F238E27FC236}">
                <a16:creationId xmlns:a16="http://schemas.microsoft.com/office/drawing/2014/main" id="{F74CB4C6-34D3-BACA-916B-8E0A616530B1}"/>
              </a:ext>
            </a:extLst>
          </p:cNvPr>
          <p:cNvPicPr>
            <a:picLocks noChangeArrowheads="1" noChangeAspect="1"/>
          </p:cNvPicPr>
          <p:nvPr/>
        </p:nvPicPr>
        <p:blipFill>
          <a:blip r:embed="rId3">
            <a:extLst>
              <a:ext uri="{28A0092B-C50C-407E-A947-70E740481C1C}">
                <a14:useLocalDpi xmlns:a14="http://schemas.microsoft.com/office/drawing/2010/main" val="0"/>
              </a:ext>
            </a:extLst>
          </a:blip>
          <a:srcRect b="51" r="-1" t="82"/>
          <a:stretch>
            <a:fillRect/>
          </a:stretch>
        </p:blipFill>
        <p:spPr bwMode="auto">
          <a:xfrm>
            <a:off x="20" y="10"/>
            <a:ext cx="6095980" cy="6857990"/>
          </a:xfrm>
          <a:prstGeom prst="rect">
            <a:avLst/>
          </a:prstGeom>
          <a:solidFill>
            <a:srgbClr val="FFFFFF"/>
          </a:solidFill>
        </p:spPr>
      </p:pic>
      <p:sp>
        <p:nvSpPr>
          <p:cNvPr id="2" name="Title 1">
            <a:extLst>
              <a:ext uri="{FF2B5EF4-FFF2-40B4-BE49-F238E27FC236}">
                <a16:creationId xmlns:a16="http://schemas.microsoft.com/office/drawing/2014/main" id="{CFD811EB-6283-40F4-AF28-479304873225}"/>
              </a:ext>
            </a:extLst>
          </p:cNvPr>
          <p:cNvSpPr>
            <a:spLocks noGrp="1"/>
          </p:cNvSpPr>
          <p:nvPr>
            <p:ph type="title"/>
          </p:nvPr>
        </p:nvSpPr>
        <p:spPr>
          <a:xfrm>
            <a:off x="6359417" y="260350"/>
            <a:ext cx="5063967" cy="792163"/>
          </a:xfrm>
        </p:spPr>
        <p:txBody>
          <a:bodyPr anchor="b">
            <a:normAutofit/>
          </a:bodyPr>
          <a:lstStyle/>
          <a:p>
            <a:r>
              <a:rPr dirty="0" lang="en-US"/>
              <a:t>Content:</a:t>
            </a:r>
          </a:p>
        </p:txBody>
      </p:sp>
    </p:spTree>
    <p:extLst>
      <p:ext uri="{BB962C8B-B14F-4D97-AF65-F5344CB8AC3E}">
        <p14:creationId xmlns:p14="http://schemas.microsoft.com/office/powerpoint/2010/main" val="1929102588"/>
      </p:ext>
    </p:extLst>
  </p:cSld>
  <p:clrMapOvr>
    <a:masterClrMapping/>
  </p:clrMapOvr>
</p:sld>
</file>

<file path=ppt/slides/slide20.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66B35BD6-34E7-988E-CFF4-AA12787FCFE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A2F680F-BF2E-5F39-9DD8-B9FAE3EA4950}"/>
              </a:ext>
            </a:extLst>
          </p:cNvPr>
          <p:cNvSpPr>
            <a:spLocks noGrp="1"/>
          </p:cNvSpPr>
          <p:nvPr>
            <p:ph idx="17" sz="quarter" type="body"/>
          </p:nvPr>
        </p:nvSpPr>
        <p:spPr/>
        <p:txBody>
          <a:bodyPr/>
          <a:lstStyle/>
          <a:p>
            <a:pPr>
              <a:buFont charset="0" panose="020B0604020202020204" pitchFamily="34" typeface="Arial"/>
              <a:buChar char="•"/>
            </a:pPr>
            <a:r>
              <a:rPr b="1" dirty="0" lang="en-US" sz="1600"/>
              <a:t>Definition</a:t>
            </a:r>
            <a:r>
              <a:rPr dirty="0" lang="en-US" sz="1600"/>
              <a:t>: Digital representation of a </a:t>
            </a:r>
            <a:r>
              <a:rPr b="1" dirty="0" lang="en-US" sz="1600"/>
              <a:t>vehicle manufacturing or assembly process</a:t>
            </a:r>
            <a:r>
              <a:rPr dirty="0" lang="en-US" sz="1600"/>
              <a:t>.</a:t>
            </a:r>
          </a:p>
          <a:p>
            <a:pPr>
              <a:buFont charset="0" panose="020B0604020202020204" pitchFamily="34" typeface="Arial"/>
              <a:buChar char="•"/>
            </a:pPr>
            <a:r>
              <a:rPr b="1" dirty="0" lang="en-US" sz="1600"/>
              <a:t>Example</a:t>
            </a:r>
            <a:r>
              <a:rPr dirty="0" lang="en-US" sz="1600"/>
              <a:t>: A digital twin of the </a:t>
            </a:r>
            <a:r>
              <a:rPr b="1" dirty="0" lang="en-US" sz="1600"/>
              <a:t>final vehicle assembly line</a:t>
            </a:r>
            <a:r>
              <a:rPr dirty="0" lang="en-US" sz="1600"/>
              <a:t>, </a:t>
            </a:r>
            <a:r>
              <a:rPr b="1" dirty="0" lang="en-US" sz="1600"/>
              <a:t>paint shop</a:t>
            </a:r>
            <a:r>
              <a:rPr dirty="0" lang="en-US" sz="1600"/>
              <a:t>, or </a:t>
            </a:r>
            <a:r>
              <a:rPr b="1" dirty="0" lang="en-US" sz="1600"/>
              <a:t>battery pack production process</a:t>
            </a:r>
            <a:r>
              <a:rPr dirty="0" lang="en-US" sz="1600"/>
              <a:t>.</a:t>
            </a:r>
          </a:p>
          <a:p>
            <a:pPr>
              <a:buFont charset="0" panose="020B0604020202020204" pitchFamily="34" typeface="Arial"/>
              <a:buChar char="•"/>
            </a:pPr>
            <a:r>
              <a:rPr b="1" dirty="0" lang="en-US" sz="1600"/>
              <a:t>Use Case</a:t>
            </a:r>
            <a:r>
              <a:rPr dirty="0" lang="en-US" sz="1600"/>
              <a:t>:</a:t>
            </a:r>
          </a:p>
          <a:p>
            <a:pPr indent="-285750" lvl="1" marL="742950">
              <a:buFont charset="0" panose="020B0604020202020204" pitchFamily="34" typeface="Arial"/>
              <a:buChar char="•"/>
            </a:pPr>
            <a:r>
              <a:rPr b="1" dirty="0" lang="en-US" sz="1600"/>
              <a:t>Process simulation</a:t>
            </a:r>
            <a:r>
              <a:rPr dirty="0" lang="en-US" sz="1600"/>
              <a:t> to improve cycle time.</a:t>
            </a:r>
          </a:p>
          <a:p>
            <a:pPr indent="-285750" lvl="1" marL="742950">
              <a:buFont charset="0" panose="020B0604020202020204" pitchFamily="34" typeface="Arial"/>
              <a:buChar char="•"/>
            </a:pPr>
            <a:r>
              <a:rPr b="1" dirty="0" lang="en-US" sz="1600"/>
              <a:t>Bottleneck analysis</a:t>
            </a:r>
            <a:r>
              <a:rPr dirty="0" lang="en-US" sz="1600"/>
              <a:t> to enhance throughput and reduce downtime.</a:t>
            </a:r>
          </a:p>
          <a:p>
            <a:endParaRPr dirty="0" lang="en-IN"/>
          </a:p>
        </p:txBody>
      </p:sp>
      <p:sp>
        <p:nvSpPr>
          <p:cNvPr id="5" name="Title 4">
            <a:extLst>
              <a:ext uri="{FF2B5EF4-FFF2-40B4-BE49-F238E27FC236}">
                <a16:creationId xmlns:a16="http://schemas.microsoft.com/office/drawing/2014/main" id="{56BCA907-1664-C757-9815-E0C5E56097F4}"/>
              </a:ext>
            </a:extLst>
          </p:cNvPr>
          <p:cNvSpPr>
            <a:spLocks noGrp="1"/>
          </p:cNvSpPr>
          <p:nvPr>
            <p:ph type="title"/>
          </p:nvPr>
        </p:nvSpPr>
        <p:spPr>
          <a:xfrm>
            <a:off x="6312024" y="835037"/>
            <a:ext cx="5063967" cy="792163"/>
          </a:xfrm>
        </p:spPr>
        <p:txBody>
          <a:bodyPr/>
          <a:lstStyle/>
          <a:p>
            <a:r>
              <a:rPr b="1" dirty="0" lang="en-US"/>
              <a:t>4. Process Twin</a:t>
            </a:r>
            <a:br>
              <a:rPr b="1" dirty="0" lang="en-US"/>
            </a:br>
            <a:endParaRPr dirty="0" lang="en-IN"/>
          </a:p>
        </p:txBody>
      </p:sp>
      <p:pic>
        <p:nvPicPr>
          <p:cNvPr descr="Mage media" id="4098" name="Picture 2">
            <a:extLst>
              <a:ext uri="{FF2B5EF4-FFF2-40B4-BE49-F238E27FC236}">
                <a16:creationId xmlns:a16="http://schemas.microsoft.com/office/drawing/2014/main" id="{592282DD-D3DE-F10B-F5E1-D0F0E2C99410}"/>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9177842"/>
      </p:ext>
    </p:extLst>
  </p:cSld>
  <p:clrMapOvr>
    <a:masterClrMapping/>
  </p:clrMapOvr>
</p:sld>
</file>

<file path=ppt/slides/slide21.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CB0D2EC0-6A34-AB40-A658-96204F7AD3D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4727D4C-A820-DEC2-0932-635B8D207D92}"/>
              </a:ext>
            </a:extLst>
          </p:cNvPr>
          <p:cNvSpPr>
            <a:spLocks noGrp="1"/>
          </p:cNvSpPr>
          <p:nvPr>
            <p:ph idx="17" sz="quarter" type="body"/>
          </p:nvPr>
        </p:nvSpPr>
        <p:spPr/>
        <p:txBody>
          <a:bodyPr/>
          <a:lstStyle/>
          <a:p>
            <a:pPr>
              <a:buFont charset="0" panose="020B0604020202020204" pitchFamily="34" typeface="Arial"/>
              <a:buChar char="•"/>
            </a:pPr>
            <a:r>
              <a:rPr b="1" dirty="0" lang="en-US" sz="1600"/>
              <a:t>Definition</a:t>
            </a:r>
            <a:r>
              <a:rPr dirty="0" lang="en-US" sz="1600"/>
              <a:t>: Represents an </a:t>
            </a:r>
            <a:r>
              <a:rPr b="1" dirty="0" lang="en-US" sz="1600"/>
              <a:t>automotive enterprise ecosystem</a:t>
            </a:r>
            <a:r>
              <a:rPr dirty="0" lang="en-US" sz="1600"/>
              <a:t>, like plants, suppliers, and distribution channels.</a:t>
            </a:r>
          </a:p>
          <a:p>
            <a:pPr>
              <a:buFont charset="0" panose="020B0604020202020204" pitchFamily="34" typeface="Arial"/>
              <a:buChar char="•"/>
            </a:pPr>
            <a:r>
              <a:rPr b="1" dirty="0" lang="en-US" sz="1600"/>
              <a:t>Example</a:t>
            </a:r>
            <a:r>
              <a:rPr dirty="0" lang="en-US" sz="1600"/>
              <a:t>: A digital twin of a </a:t>
            </a:r>
            <a:r>
              <a:rPr b="1" dirty="0" lang="en-US" sz="1600"/>
              <a:t>global automotive supply chain</a:t>
            </a:r>
            <a:r>
              <a:rPr dirty="0" lang="en-US" sz="1600"/>
              <a:t>, or a </a:t>
            </a:r>
            <a:r>
              <a:rPr b="1" dirty="0" lang="en-US" sz="1600"/>
              <a:t>network of smart manufacturing plants</a:t>
            </a:r>
            <a:r>
              <a:rPr dirty="0" lang="en-US" sz="1600"/>
              <a:t>.</a:t>
            </a:r>
          </a:p>
          <a:p>
            <a:pPr>
              <a:buFont charset="0" panose="020B0604020202020204" pitchFamily="34" typeface="Arial"/>
              <a:buChar char="•"/>
            </a:pPr>
            <a:r>
              <a:rPr b="1" dirty="0" lang="en-US" sz="1600"/>
              <a:t>Use Case</a:t>
            </a:r>
            <a:r>
              <a:rPr dirty="0" lang="en-US" sz="1600"/>
              <a:t>:</a:t>
            </a:r>
          </a:p>
          <a:p>
            <a:pPr indent="-285750" lvl="1" marL="742950">
              <a:buFont charset="0" panose="020B0604020202020204" pitchFamily="34" typeface="Arial"/>
              <a:buChar char="•"/>
            </a:pPr>
            <a:r>
              <a:rPr b="1" dirty="0" lang="en-US" sz="1600"/>
              <a:t>Strategic decision-making</a:t>
            </a:r>
            <a:r>
              <a:rPr dirty="0" lang="en-US" sz="1600"/>
              <a:t> (e.g., optimizing logistics or responding to supply chain disruptions).</a:t>
            </a:r>
          </a:p>
          <a:p>
            <a:pPr indent="-285750" lvl="1" marL="742950">
              <a:buFont charset="0" panose="020B0604020202020204" pitchFamily="34" typeface="Arial"/>
              <a:buChar char="•"/>
            </a:pPr>
            <a:r>
              <a:rPr b="1" dirty="0" lang="en-US" sz="1600"/>
              <a:t>Production planning and resource allocation</a:t>
            </a:r>
            <a:r>
              <a:rPr dirty="0" lang="en-US" sz="1600"/>
              <a:t> across multiple plants.</a:t>
            </a:r>
          </a:p>
          <a:p>
            <a:endParaRPr dirty="0" lang="en-IN"/>
          </a:p>
        </p:txBody>
      </p:sp>
      <p:sp>
        <p:nvSpPr>
          <p:cNvPr id="5" name="Title 4">
            <a:extLst>
              <a:ext uri="{FF2B5EF4-FFF2-40B4-BE49-F238E27FC236}">
                <a16:creationId xmlns:a16="http://schemas.microsoft.com/office/drawing/2014/main" id="{D0434DE2-4E0E-C337-851A-D358CD05E860}"/>
              </a:ext>
            </a:extLst>
          </p:cNvPr>
          <p:cNvSpPr>
            <a:spLocks noGrp="1"/>
          </p:cNvSpPr>
          <p:nvPr>
            <p:ph type="title"/>
          </p:nvPr>
        </p:nvSpPr>
        <p:spPr>
          <a:xfrm>
            <a:off x="6367903" y="764704"/>
            <a:ext cx="5063967" cy="792163"/>
          </a:xfrm>
        </p:spPr>
        <p:txBody>
          <a:bodyPr/>
          <a:lstStyle/>
          <a:p>
            <a:r>
              <a:rPr b="1" dirty="0" lang="en-US"/>
              <a:t>5. Organization or Network Twin</a:t>
            </a:r>
            <a:br>
              <a:rPr b="1" dirty="0" lang="en-US"/>
            </a:br>
            <a:endParaRPr dirty="0" lang="en-IN"/>
          </a:p>
        </p:txBody>
      </p:sp>
      <p:pic>
        <p:nvPicPr>
          <p:cNvPr descr="Mage media" id="5122" name="Picture 2">
            <a:extLst>
              <a:ext uri="{FF2B5EF4-FFF2-40B4-BE49-F238E27FC236}">
                <a16:creationId xmlns:a16="http://schemas.microsoft.com/office/drawing/2014/main" id="{42117C24-E6EB-8EAB-5E7C-31FCCC0AE1A9}"/>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06100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D871570-FBB8-F282-1B97-65C16AE6C6F4}"/>
              </a:ext>
            </a:extLst>
          </p:cNvPr>
          <p:cNvSpPr>
            <a:spLocks noGrp="1"/>
          </p:cNvSpPr>
          <p:nvPr>
            <p:ph type="ctrTitle"/>
          </p:nvPr>
        </p:nvSpPr>
        <p:spPr>
          <a:xfrm>
            <a:off x="335360" y="5329427"/>
            <a:ext cx="11090276" cy="747897"/>
          </a:xfrm>
        </p:spPr>
        <p:txBody>
          <a:bodyPr/>
          <a:lstStyle/>
          <a:p>
            <a:r>
              <a:rPr lang="en-US" dirty="0"/>
              <a:t>4. </a:t>
            </a:r>
            <a:r>
              <a:rPr lang="en-US" b="1" dirty="0"/>
              <a:t>Applications of Digital Twin in the Automotive Industry</a:t>
            </a:r>
            <a:br>
              <a:rPr lang="en-US" dirty="0"/>
            </a:br>
            <a:endParaRPr lang="en-US" dirty="0"/>
          </a:p>
        </p:txBody>
      </p:sp>
      <p:sp>
        <p:nvSpPr>
          <p:cNvPr id="5" name="ZoneTexte 4">
            <a:extLst>
              <a:ext uri="{FF2B5EF4-FFF2-40B4-BE49-F238E27FC236}">
                <a16:creationId xmlns:a16="http://schemas.microsoft.com/office/drawing/2014/main" id="{C4EEF18A-CE15-3B5B-3556-2DDC634FD885}"/>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Tree>
    <p:extLst>
      <p:ext uri="{BB962C8B-B14F-4D97-AF65-F5344CB8AC3E}">
        <p14:creationId xmlns:p14="http://schemas.microsoft.com/office/powerpoint/2010/main" val="1338321651"/>
      </p:ext>
    </p:extLst>
  </p:cSld>
  <p:clrMapOvr>
    <a:masterClrMapping/>
  </p:clrMapOvr>
</p:sld>
</file>

<file path=ppt/slides/slide23.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682838F5-C10B-4372-49B3-90B2E35BC1A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85182C1-75F0-7334-BCC8-8255189D4736}"/>
              </a:ext>
            </a:extLst>
          </p:cNvPr>
          <p:cNvSpPr>
            <a:spLocks noGrp="1"/>
          </p:cNvSpPr>
          <p:nvPr>
            <p:ph type="title"/>
          </p:nvPr>
        </p:nvSpPr>
        <p:spPr>
          <a:xfrm>
            <a:off x="6528049" y="408567"/>
            <a:ext cx="5328592" cy="788186"/>
          </a:xfrm>
        </p:spPr>
        <p:txBody>
          <a:bodyPr anchor="ctr">
            <a:normAutofit/>
          </a:bodyPr>
          <a:lstStyle/>
          <a:p>
            <a:r>
              <a:rPr b="1" dirty="0" lang="en-IN"/>
              <a:t>Vehicle Design &amp; Development</a:t>
            </a:r>
            <a:br>
              <a:rPr b="1" dirty="0" lang="en-IN"/>
            </a:br>
            <a:endParaRPr dirty="0" lang="en-IN"/>
          </a:p>
        </p:txBody>
      </p:sp>
      <p:graphicFrame>
        <p:nvGraphicFramePr>
          <p:cNvPr id="12" name="Text Placeholder 2">
            <a:extLst>
              <a:ext uri="{FF2B5EF4-FFF2-40B4-BE49-F238E27FC236}">
                <a16:creationId xmlns:a16="http://schemas.microsoft.com/office/drawing/2014/main" id="{7980F8F3-89C5-DE24-5C4E-54DF25CA2189}"/>
              </a:ext>
            </a:extLst>
          </p:cNvPr>
          <p:cNvGraphicFramePr/>
          <p:nvPr>
            <p:extLst>
              <p:ext uri="{D42A27DB-BD31-4B8C-83A1-F6EECF244321}">
                <p14:modId xmlns:p14="http://schemas.microsoft.com/office/powerpoint/2010/main" val="4250133141"/>
              </p:ext>
            </p:extLst>
          </p:nvPr>
        </p:nvGraphicFramePr>
        <p:xfrm>
          <a:off x="4727848" y="1700808"/>
          <a:ext cx="9497453" cy="4352544"/>
        </p:xfrm>
        <a:graphic>
          <a:graphicData uri="http://schemas.openxmlformats.org/drawingml/2006/diagram">
            <dgm:relIds xmlns:dgm="http://schemas.openxmlformats.org/drawingml/2006/diagram" xmlns:r="http://schemas.openxmlformats.org/officeDocument/2006/relationships" r:cs="rId6" r:dm="rId3" r:lo="rId4" r:qs="rId5"/>
          </a:graphicData>
        </a:graphic>
      </p:graphicFrame>
      <p:pic>
        <p:nvPicPr>
          <p:cNvPr id="9" name="Picture Placeholder 5">
            <a:extLst>
              <a:ext uri="{FF2B5EF4-FFF2-40B4-BE49-F238E27FC236}">
                <a16:creationId xmlns:a16="http://schemas.microsoft.com/office/drawing/2014/main" id="{B9964071-1B64-B63B-4CD8-9EBAEB22123B}"/>
              </a:ext>
            </a:extLst>
          </p:cNvPr>
          <p:cNvPicPr>
            <a:picLocks noChangeAspect="1"/>
          </p:cNvPicPr>
          <p:nvPr/>
        </p:nvPicPr>
        <p:blipFill>
          <a:blip r:embed="rId8"/>
          <a:stretch>
            <a:fillRect/>
          </a:stretch>
        </p:blipFill>
        <p:spPr>
          <a:xfrm>
            <a:off x="-10874" y="0"/>
            <a:ext cx="6096000" cy="6858000"/>
          </a:xfrm>
          <a:prstGeom prst="rect">
            <a:avLst/>
          </a:prstGeom>
        </p:spPr>
      </p:pic>
    </p:spTree>
    <p:extLst>
      <p:ext uri="{BB962C8B-B14F-4D97-AF65-F5344CB8AC3E}">
        <p14:creationId xmlns:p14="http://schemas.microsoft.com/office/powerpoint/2010/main" val="4058555078"/>
      </p:ext>
    </p:extLst>
  </p:cSld>
  <p:clrMapOvr>
    <a:masterClrMapping/>
  </p:clrMapOvr>
</p:sld>
</file>

<file path=ppt/slides/slide24.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E111B8-4259-21AF-4B7D-2DCB5658AC76}"/>
              </a:ext>
            </a:extLst>
          </p:cNvPr>
          <p:cNvSpPr>
            <a:spLocks noGrp="1"/>
          </p:cNvSpPr>
          <p:nvPr>
            <p:ph type="title"/>
          </p:nvPr>
        </p:nvSpPr>
        <p:spPr>
          <a:xfrm>
            <a:off x="6816080" y="460640"/>
            <a:ext cx="4672917" cy="576362"/>
          </a:xfrm>
        </p:spPr>
        <p:txBody>
          <a:bodyPr anchor="ctr">
            <a:normAutofit fontScale="90000"/>
          </a:bodyPr>
          <a:lstStyle/>
          <a:p>
            <a:r>
              <a:rPr b="1" dirty="0" lang="en-IN"/>
              <a:t>Manufacturing Optimization</a:t>
            </a:r>
            <a:br>
              <a:rPr b="1" dirty="0" lang="en-IN"/>
            </a:br>
            <a:endParaRPr dirty="0" lang="en-IN"/>
          </a:p>
        </p:txBody>
      </p:sp>
      <p:graphicFrame>
        <p:nvGraphicFramePr>
          <p:cNvPr id="10" name="Text Placeholder 2">
            <a:extLst>
              <a:ext uri="{FF2B5EF4-FFF2-40B4-BE49-F238E27FC236}">
                <a16:creationId xmlns:a16="http://schemas.microsoft.com/office/drawing/2014/main" id="{B2AF37BF-8DE3-0E21-6684-482E255C17E2}"/>
              </a:ext>
            </a:extLst>
          </p:cNvPr>
          <p:cNvGraphicFramePr/>
          <p:nvPr>
            <p:extLst>
              <p:ext uri="{D42A27DB-BD31-4B8C-83A1-F6EECF244321}">
                <p14:modId xmlns:p14="http://schemas.microsoft.com/office/powerpoint/2010/main" val="2774253497"/>
              </p:ext>
            </p:extLst>
          </p:nvPr>
        </p:nvGraphicFramePr>
        <p:xfrm>
          <a:off x="35814" y="1037002"/>
          <a:ext cx="12036849" cy="5360358"/>
        </p:xfrm>
        <a:graphic>
          <a:graphicData uri="http://schemas.openxmlformats.org/drawingml/2006/diagram">
            <dgm:relIds xmlns:dgm="http://schemas.openxmlformats.org/drawingml/2006/diagram" xmlns:r="http://schemas.openxmlformats.org/officeDocument/2006/relationships" r:cs="rId6" r:dm="rId3" r:lo="rId4" r:qs="rId5"/>
          </a:graphicData>
        </a:graphic>
      </p:graphicFrame>
      <p:pic>
        <p:nvPicPr>
          <p:cNvPr id="9" name="Picture Placeholder 5">
            <a:extLst>
              <a:ext uri="{FF2B5EF4-FFF2-40B4-BE49-F238E27FC236}">
                <a16:creationId xmlns:a16="http://schemas.microsoft.com/office/drawing/2014/main" id="{10230690-BD33-1306-88D7-651E06D16E69}"/>
              </a:ext>
            </a:extLst>
          </p:cNvPr>
          <p:cNvPicPr>
            <a:picLocks noChangeAspect="1"/>
          </p:cNvPicPr>
          <p:nvPr/>
        </p:nvPicPr>
        <p:blipFill>
          <a:blip r:embed="rId8"/>
          <a:stretch>
            <a:fillRect/>
          </a:stretch>
        </p:blipFill>
        <p:spPr>
          <a:xfrm>
            <a:off x="-47517" y="0"/>
            <a:ext cx="6096000" cy="6858000"/>
          </a:xfrm>
          <a:prstGeom prst="rect">
            <a:avLst/>
          </a:prstGeom>
        </p:spPr>
      </p:pic>
    </p:spTree>
    <p:extLst>
      <p:ext uri="{BB962C8B-B14F-4D97-AF65-F5344CB8AC3E}">
        <p14:creationId xmlns:p14="http://schemas.microsoft.com/office/powerpoint/2010/main" val="3882593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BCCD0-B47E-6351-FD11-DB281DA5F59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B195B01-5AD3-79CC-F1AA-E5110AC90628}"/>
              </a:ext>
            </a:extLst>
          </p:cNvPr>
          <p:cNvSpPr>
            <a:spLocks noGrp="1"/>
          </p:cNvSpPr>
          <p:nvPr>
            <p:ph type="title"/>
          </p:nvPr>
        </p:nvSpPr>
        <p:spPr>
          <a:xfrm>
            <a:off x="6096000" y="260648"/>
            <a:ext cx="4045459" cy="648072"/>
          </a:xfrm>
        </p:spPr>
        <p:txBody>
          <a:bodyPr anchor="ctr">
            <a:normAutofit fontScale="90000"/>
          </a:bodyPr>
          <a:lstStyle/>
          <a:p>
            <a:r>
              <a:rPr lang="en-IN" b="1" dirty="0"/>
              <a:t>Testing and Calibration</a:t>
            </a:r>
            <a:br>
              <a:rPr lang="en-IN" b="1" dirty="0"/>
            </a:br>
            <a:endParaRPr lang="en-IN" dirty="0"/>
          </a:p>
        </p:txBody>
      </p:sp>
      <p:graphicFrame>
        <p:nvGraphicFramePr>
          <p:cNvPr id="10" name="Text Placeholder 2">
            <a:extLst>
              <a:ext uri="{FF2B5EF4-FFF2-40B4-BE49-F238E27FC236}">
                <a16:creationId xmlns:a16="http://schemas.microsoft.com/office/drawing/2014/main" id="{BD650DC8-140F-7137-0AEE-48380FFC7189}"/>
              </a:ext>
            </a:extLst>
          </p:cNvPr>
          <p:cNvGraphicFramePr/>
          <p:nvPr>
            <p:extLst>
              <p:ext uri="{D42A27DB-BD31-4B8C-83A1-F6EECF244321}">
                <p14:modId xmlns:p14="http://schemas.microsoft.com/office/powerpoint/2010/main" val="4028885426"/>
              </p:ext>
            </p:extLst>
          </p:nvPr>
        </p:nvGraphicFramePr>
        <p:xfrm>
          <a:off x="5087888" y="1052736"/>
          <a:ext cx="6689141" cy="44902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descr="Mage media">
            <a:extLst>
              <a:ext uri="{FF2B5EF4-FFF2-40B4-BE49-F238E27FC236}">
                <a16:creationId xmlns:a16="http://schemas.microsoft.com/office/drawing/2014/main" id="{8E57ECA5-97CA-7056-8CEF-66CF0D9E300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533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4035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EFE87-7D79-5907-47FF-7009173FE11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48F6C8B-8C68-6753-EEE6-9435D51FB212}"/>
              </a:ext>
            </a:extLst>
          </p:cNvPr>
          <p:cNvSpPr>
            <a:spLocks noGrp="1"/>
          </p:cNvSpPr>
          <p:nvPr>
            <p:ph type="title"/>
          </p:nvPr>
        </p:nvSpPr>
        <p:spPr>
          <a:xfrm>
            <a:off x="414971" y="260350"/>
            <a:ext cx="11008413" cy="792163"/>
          </a:xfrm>
        </p:spPr>
        <p:txBody>
          <a:bodyPr anchor="ctr">
            <a:normAutofit/>
          </a:bodyPr>
          <a:lstStyle/>
          <a:p>
            <a:r>
              <a:rPr lang="en-IN" b="1" dirty="0"/>
              <a:t>Predictive Maintenance</a:t>
            </a:r>
            <a:br>
              <a:rPr lang="en-IN" b="1" dirty="0"/>
            </a:br>
            <a:endParaRPr lang="en-IN" dirty="0"/>
          </a:p>
        </p:txBody>
      </p:sp>
      <p:graphicFrame>
        <p:nvGraphicFramePr>
          <p:cNvPr id="8" name="Text Placeholder 2">
            <a:extLst>
              <a:ext uri="{FF2B5EF4-FFF2-40B4-BE49-F238E27FC236}">
                <a16:creationId xmlns:a16="http://schemas.microsoft.com/office/drawing/2014/main" id="{DD69A6BC-6F6A-44E8-7688-88EED488F161}"/>
              </a:ext>
            </a:extLst>
          </p:cNvPr>
          <p:cNvGraphicFramePr/>
          <p:nvPr>
            <p:extLst>
              <p:ext uri="{D42A27DB-BD31-4B8C-83A1-F6EECF244321}">
                <p14:modId xmlns:p14="http://schemas.microsoft.com/office/powerpoint/2010/main" val="2414818583"/>
              </p:ext>
            </p:extLst>
          </p:nvPr>
        </p:nvGraphicFramePr>
        <p:xfrm>
          <a:off x="414971" y="1243013"/>
          <a:ext cx="6113077" cy="34101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954F46B7-C62F-8E51-69E7-7C88AE8E86FD}"/>
              </a:ext>
            </a:extLst>
          </p:cNvPr>
          <p:cNvPicPr>
            <a:picLocks noChangeAspect="1"/>
          </p:cNvPicPr>
          <p:nvPr/>
        </p:nvPicPr>
        <p:blipFill>
          <a:blip r:embed="rId8"/>
          <a:stretch>
            <a:fillRect/>
          </a:stretch>
        </p:blipFill>
        <p:spPr>
          <a:xfrm>
            <a:off x="6871472" y="0"/>
            <a:ext cx="5334000" cy="6858000"/>
          </a:xfrm>
          <a:prstGeom prst="rect">
            <a:avLst/>
          </a:prstGeom>
        </p:spPr>
      </p:pic>
    </p:spTree>
    <p:extLst>
      <p:ext uri="{BB962C8B-B14F-4D97-AF65-F5344CB8AC3E}">
        <p14:creationId xmlns:p14="http://schemas.microsoft.com/office/powerpoint/2010/main" val="16242969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6">
            <a:extLst>
              <a:ext uri="{FF2B5EF4-FFF2-40B4-BE49-F238E27FC236}">
                <a16:creationId xmlns:a16="http://schemas.microsoft.com/office/drawing/2014/main" id="{3425ECA8-B8E1-57A4-1556-C42AB7F7881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45568" y="1045245"/>
            <a:ext cx="8281358" cy="6858000"/>
          </a:xfrm>
          <a:prstGeom prst="rect">
            <a:avLst/>
          </a:prstGeom>
        </p:spPr>
      </p:pic>
      <p:sp>
        <p:nvSpPr>
          <p:cNvPr id="2" name="Espace réservé du texte 1">
            <a:extLst>
              <a:ext uri="{FF2B5EF4-FFF2-40B4-BE49-F238E27FC236}">
                <a16:creationId xmlns:a16="http://schemas.microsoft.com/office/drawing/2014/main" id="{1764FE9C-DDC0-AD7A-4A0D-EE34FF3A533D}"/>
              </a:ext>
            </a:extLst>
          </p:cNvPr>
          <p:cNvSpPr>
            <a:spLocks noGrp="1"/>
          </p:cNvSpPr>
          <p:nvPr>
            <p:ph type="title" idx="4294967295"/>
          </p:nvPr>
        </p:nvSpPr>
        <p:spPr>
          <a:xfrm>
            <a:off x="221099" y="5010606"/>
            <a:ext cx="11356975" cy="177279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spcBef>
                <a:spcPts val="0"/>
              </a:spcBef>
              <a:defRPr/>
            </a:pPr>
            <a:r>
              <a:rPr lang="en-US" sz="4800" dirty="0">
                <a:solidFill>
                  <a:schemeClr val="bg1"/>
                </a:solidFill>
              </a:rPr>
              <a:t>5.Enabling Technologies</a:t>
            </a:r>
            <a:br>
              <a:rPr lang="en-US" sz="4800" dirty="0"/>
            </a:br>
            <a:endParaRPr kumimoji="0" lang="en-US" sz="8000" b="0" i="0" u="none" strike="noStrike" kern="1200" cap="none" spc="0" normalizeH="0" baseline="0" noProof="0" dirty="0">
              <a:ln>
                <a:noFill/>
              </a:ln>
              <a:solidFill>
                <a:schemeClr val="bg1"/>
              </a:solidFill>
              <a:effectLst/>
              <a:uLnTx/>
              <a:uFillTx/>
              <a:latin typeface="+mj-lt"/>
              <a:ea typeface="+mn-ea"/>
              <a:cs typeface="+mn-cs"/>
            </a:endParaRPr>
          </a:p>
        </p:txBody>
      </p:sp>
      <p:sp>
        <p:nvSpPr>
          <p:cNvPr id="4" name="ZoneTexte 3">
            <a:extLst>
              <a:ext uri="{FF2B5EF4-FFF2-40B4-BE49-F238E27FC236}">
                <a16:creationId xmlns:a16="http://schemas.microsoft.com/office/drawing/2014/main" id="{90B1240D-4636-F6A0-5053-9212FE785F5D}"/>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sp>
        <p:nvSpPr>
          <p:cNvPr id="5" name="TextBox 4">
            <a:extLst>
              <a:ext uri="{FF2B5EF4-FFF2-40B4-BE49-F238E27FC236}">
                <a16:creationId xmlns:a16="http://schemas.microsoft.com/office/drawing/2014/main" id="{FDF083FA-74DC-8780-A00D-BE73201CFE57}"/>
              </a:ext>
            </a:extLst>
          </p:cNvPr>
          <p:cNvSpPr txBox="1"/>
          <p:nvPr/>
        </p:nvSpPr>
        <p:spPr>
          <a:xfrm>
            <a:off x="623392" y="5026892"/>
            <a:ext cx="7056784" cy="648512"/>
          </a:xfrm>
          <a:prstGeom prst="rect">
            <a:avLst/>
          </a:prstGeom>
          <a:noFill/>
        </p:spPr>
        <p:txBody>
          <a:bodyPr vert="horz" wrap="square" lIns="90000" tIns="46800" rIns="90000" bIns="46800" rtlCol="0" anchor="ctr">
            <a:spAutoFit/>
          </a:bodyPr>
          <a:lstStyle/>
          <a:p>
            <a:pPr algn="l">
              <a:spcBef>
                <a:spcPct val="0"/>
              </a:spcBef>
            </a:pPr>
            <a:endParaRPr lang="en-US" dirty="0">
              <a:solidFill>
                <a:schemeClr val="bg1"/>
              </a:solidFill>
            </a:endParaRPr>
          </a:p>
          <a:p>
            <a:pPr algn="l">
              <a:spcBef>
                <a:spcPct val="0"/>
              </a:spcBef>
            </a:pPr>
            <a:endParaRPr lang="en-IN" dirty="0">
              <a:solidFill>
                <a:schemeClr val="bg1"/>
              </a:solidFill>
            </a:endParaRPr>
          </a:p>
        </p:txBody>
      </p:sp>
    </p:spTree>
    <p:extLst>
      <p:ext uri="{BB962C8B-B14F-4D97-AF65-F5344CB8AC3E}">
        <p14:creationId xmlns:p14="http://schemas.microsoft.com/office/powerpoint/2010/main" val="20057883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AB97905-B35F-D072-1ED9-4ECAD040E4AC}"/>
              </a:ext>
            </a:extLst>
          </p:cNvPr>
          <p:cNvSpPr>
            <a:spLocks noGrp="1"/>
          </p:cNvSpPr>
          <p:nvPr>
            <p:ph type="title"/>
          </p:nvPr>
        </p:nvSpPr>
        <p:spPr>
          <a:xfrm>
            <a:off x="414971" y="260350"/>
            <a:ext cx="11008413" cy="792163"/>
          </a:xfrm>
        </p:spPr>
        <p:txBody>
          <a:bodyPr anchor="ctr">
            <a:normAutofit/>
          </a:bodyPr>
          <a:lstStyle/>
          <a:p>
            <a:r>
              <a:rPr lang="en-IN" b="1" dirty="0"/>
              <a:t>Enabling Technologies</a:t>
            </a:r>
            <a:br>
              <a:rPr lang="en-IN" b="1" dirty="0"/>
            </a:br>
            <a:endParaRPr lang="en-IN" dirty="0"/>
          </a:p>
        </p:txBody>
      </p:sp>
      <p:graphicFrame>
        <p:nvGraphicFramePr>
          <p:cNvPr id="7" name="Text Placeholder 2">
            <a:extLst>
              <a:ext uri="{FF2B5EF4-FFF2-40B4-BE49-F238E27FC236}">
                <a16:creationId xmlns:a16="http://schemas.microsoft.com/office/drawing/2014/main" id="{A6FBE7F8-C9B9-3862-04D4-E6F640EBFC11}"/>
              </a:ext>
            </a:extLst>
          </p:cNvPr>
          <p:cNvGraphicFramePr/>
          <p:nvPr>
            <p:extLst>
              <p:ext uri="{D42A27DB-BD31-4B8C-83A1-F6EECF244321}">
                <p14:modId xmlns:p14="http://schemas.microsoft.com/office/powerpoint/2010/main" val="1153026898"/>
              </p:ext>
            </p:extLst>
          </p:nvPr>
        </p:nvGraphicFramePr>
        <p:xfrm>
          <a:off x="414971" y="794155"/>
          <a:ext cx="11008413" cy="54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descr="A white robot head with black and white face&#10;&#10;AI-generated content may be incorrect.">
            <a:extLst>
              <a:ext uri="{FF2B5EF4-FFF2-40B4-BE49-F238E27FC236}">
                <a16:creationId xmlns:a16="http://schemas.microsoft.com/office/drawing/2014/main" id="{ED92A12B-0A37-708E-2B10-DF1117B403FB}"/>
              </a:ext>
            </a:extLst>
          </p:cNvPr>
          <p:cNvPicPr>
            <a:picLocks noChangeAspect="1"/>
          </p:cNvPicPr>
          <p:nvPr/>
        </p:nvPicPr>
        <p:blipFill>
          <a:blip r:embed="rId8"/>
          <a:stretch>
            <a:fillRect/>
          </a:stretch>
        </p:blipFill>
        <p:spPr>
          <a:xfrm>
            <a:off x="5069210" y="3207348"/>
            <a:ext cx="2053580" cy="2640318"/>
          </a:xfrm>
          <a:prstGeom prst="rect">
            <a:avLst/>
          </a:prstGeom>
        </p:spPr>
      </p:pic>
      <p:pic>
        <p:nvPicPr>
          <p:cNvPr id="10" name="Picture 9" descr="A close up of a circuit board&#10;&#10;AI-generated content may be incorrect.">
            <a:extLst>
              <a:ext uri="{FF2B5EF4-FFF2-40B4-BE49-F238E27FC236}">
                <a16:creationId xmlns:a16="http://schemas.microsoft.com/office/drawing/2014/main" id="{C6E0C4C5-AD6A-3183-9A51-D35C0FBA9BE9}"/>
              </a:ext>
            </a:extLst>
          </p:cNvPr>
          <p:cNvPicPr>
            <a:picLocks noChangeAspect="1"/>
          </p:cNvPicPr>
          <p:nvPr/>
        </p:nvPicPr>
        <p:blipFill>
          <a:blip r:embed="rId9"/>
          <a:stretch>
            <a:fillRect/>
          </a:stretch>
        </p:blipFill>
        <p:spPr>
          <a:xfrm>
            <a:off x="7536160" y="866356"/>
            <a:ext cx="1781606" cy="2290636"/>
          </a:xfrm>
          <a:prstGeom prst="rect">
            <a:avLst/>
          </a:prstGeom>
        </p:spPr>
      </p:pic>
      <p:pic>
        <p:nvPicPr>
          <p:cNvPr id="12" name="Picture 11" descr="A screenshot of a computer">
            <a:extLst>
              <a:ext uri="{FF2B5EF4-FFF2-40B4-BE49-F238E27FC236}">
                <a16:creationId xmlns:a16="http://schemas.microsoft.com/office/drawing/2014/main" id="{22B7C0EB-1B3C-6D08-B65D-6DA0C3E9D4D8}"/>
              </a:ext>
            </a:extLst>
          </p:cNvPr>
          <p:cNvPicPr>
            <a:picLocks noChangeAspect="1"/>
          </p:cNvPicPr>
          <p:nvPr/>
        </p:nvPicPr>
        <p:blipFill>
          <a:blip r:embed="rId10"/>
          <a:stretch>
            <a:fillRect/>
          </a:stretch>
        </p:blipFill>
        <p:spPr>
          <a:xfrm>
            <a:off x="2567608" y="3904119"/>
            <a:ext cx="1944216" cy="2499706"/>
          </a:xfrm>
          <a:prstGeom prst="rect">
            <a:avLst/>
          </a:prstGeom>
        </p:spPr>
      </p:pic>
      <p:pic>
        <p:nvPicPr>
          <p:cNvPr id="14" name="Picture 13" descr="A yellow square with a blue cloud on it&#10;&#10;AI-generated content may be incorrect.">
            <a:extLst>
              <a:ext uri="{FF2B5EF4-FFF2-40B4-BE49-F238E27FC236}">
                <a16:creationId xmlns:a16="http://schemas.microsoft.com/office/drawing/2014/main" id="{F5D5639A-AC7A-87F8-69DF-88EFB2ECADC7}"/>
              </a:ext>
            </a:extLst>
          </p:cNvPr>
          <p:cNvPicPr>
            <a:picLocks noChangeAspect="1"/>
          </p:cNvPicPr>
          <p:nvPr/>
        </p:nvPicPr>
        <p:blipFill>
          <a:blip r:embed="rId11"/>
          <a:stretch>
            <a:fillRect/>
          </a:stretch>
        </p:blipFill>
        <p:spPr>
          <a:xfrm>
            <a:off x="7578653" y="3904119"/>
            <a:ext cx="1781606" cy="2290636"/>
          </a:xfrm>
          <a:prstGeom prst="rect">
            <a:avLst/>
          </a:prstGeom>
        </p:spPr>
      </p:pic>
      <p:pic>
        <p:nvPicPr>
          <p:cNvPr id="16" name="Picture 15" descr="A city skyline with a tower and dots&#10;&#10;AI-generated content may be incorrect.">
            <a:extLst>
              <a:ext uri="{FF2B5EF4-FFF2-40B4-BE49-F238E27FC236}">
                <a16:creationId xmlns:a16="http://schemas.microsoft.com/office/drawing/2014/main" id="{3E7A0802-44E0-1D19-0E7E-495914C604A1}"/>
              </a:ext>
            </a:extLst>
          </p:cNvPr>
          <p:cNvPicPr>
            <a:picLocks noChangeAspect="1"/>
          </p:cNvPicPr>
          <p:nvPr/>
        </p:nvPicPr>
        <p:blipFill>
          <a:blip r:embed="rId12"/>
          <a:stretch>
            <a:fillRect/>
          </a:stretch>
        </p:blipFill>
        <p:spPr>
          <a:xfrm>
            <a:off x="2495600" y="934780"/>
            <a:ext cx="1781606" cy="2290636"/>
          </a:xfrm>
          <a:prstGeom prst="rect">
            <a:avLst/>
          </a:prstGeom>
        </p:spPr>
      </p:pic>
    </p:spTree>
    <p:extLst>
      <p:ext uri="{BB962C8B-B14F-4D97-AF65-F5344CB8AC3E}">
        <p14:creationId xmlns:p14="http://schemas.microsoft.com/office/powerpoint/2010/main" val="1788469670"/>
      </p:ext>
    </p:extLst>
  </p:cSld>
  <p:clrMapOvr>
    <a:masterClrMapping/>
  </p:clrMapOvr>
</p:sld>
</file>

<file path=ppt/slides/slide29.xml><?xml version="1.0" encoding="utf-8"?>
<p:sld xmlns:p="http://schemas.openxmlformats.org/presentationml/2006/main" xmlns:a="http://schemas.openxmlformats.org/drawingml/2006/main" xmlns:r="http://schemas.openxmlformats.org/officeDocument/2006/relationships" show="0">
  <p:cSld>
    <p:spTree>
      <p:nvGrpSpPr>
        <p:cNvPr id="1" name="">
          <a:extLst>
            <a:ext uri="{FF2B5EF4-FFF2-40B4-BE49-F238E27FC236}">
              <a16:creationId xmlns:a16="http://schemas.microsoft.com/office/drawing/2014/main" id="{AEB56020-5411-A9B4-A787-6E83FDA23D01}"/>
            </a:ext>
          </a:extLst>
        </p:cNvPr>
        <p:cNvGrpSpPr/>
        <p:nvPr/>
      </p:nvGrpSpPr>
      <p:grpSpPr>
        <a:xfrm>
          <a:off x="0" y="0"/>
          <a:ext cx="0" cy="0"/>
          <a:chOff x="0" y="0"/>
          <a:chExt cx="0" cy="0"/>
        </a:xfrm>
      </p:grpSpPr>
      <p:pic>
        <p:nvPicPr>
          <p:cNvPr descr="Advantages and benefits of digital twins&#10;Better R&amp;D&#10;The use of digital twins enables more effective research and design of products, with an abundance of data created about likely performance outcomes. That information can lead to insights that help companies make needed product refinements before starting production&#10;" id="3" name="Picture 2">
            <a:extLst>
              <a:ext uri="{FF2B5EF4-FFF2-40B4-BE49-F238E27FC236}">
                <a16:creationId xmlns:a16="http://schemas.microsoft.com/office/drawing/2014/main" id="{DC3FEA2E-A5AE-DC28-8B20-A3A8FC157DDF}"/>
              </a:ext>
              <a:ext uri="{C183D7F6-B498-43B3-948B-1728B52AA6E4}">
                <adec:decorative xmlns:adec="http://schemas.microsoft.com/office/drawing/2017/decorative" val="0"/>
              </a:ext>
            </a:extLst>
          </p:cNvPr>
          <p:cNvPicPr>
            <a:picLocks noChangeAspect="1"/>
          </p:cNvPicPr>
          <p:nvPr/>
        </p:nvPicPr>
        <p:blipFill>
          <a:blip r:embed="rId3"/>
          <a:srcRect b="83"/>
          <a:stretch>
            <a:fillRect/>
          </a:stretch>
        </p:blipFill>
        <p:spPr>
          <a:xfrm>
            <a:off x="20" y="10"/>
            <a:ext cx="12191980" cy="6857990"/>
          </a:xfrm>
          <a:custGeom>
            <a:avLst/>
            <a:gdLst>
              <a:gd fmla="*/ 0 w 6888162" name="connsiteX0"/>
              <a:gd fmla="*/ 0 h 6858000" name="connsiteY0"/>
              <a:gd fmla="*/ 6888162 w 6888162" name="connsiteX1"/>
              <a:gd fmla="*/ 0 h 6858000" name="connsiteY1"/>
              <a:gd fmla="*/ 6888162 w 6888162" name="connsiteX2"/>
              <a:gd fmla="*/ 6858000 h 6858000" name="connsiteY2"/>
              <a:gd fmla="*/ 0 w 6888162" name="connsiteX3"/>
              <a:gd fmla="*/ 6858000 h 6858000" name="connsiteY3"/>
            </a:gdLst>
            <a:ahLst/>
            <a:cxnLst>
              <a:cxn ang="0">
                <a:pos x="connsiteX0" y="connsiteY0"/>
              </a:cxn>
              <a:cxn ang="0">
                <a:pos x="connsiteX1" y="connsiteY1"/>
              </a:cxn>
              <a:cxn ang="0">
                <a:pos x="connsiteX2" y="connsiteY2"/>
              </a:cxn>
              <a:cxn ang="0">
                <a:pos x="connsiteX3" y="connsiteY3"/>
              </a:cxn>
            </a:cxnLst>
            <a:rect b="b" l="l" r="r" t="t"/>
            <a:pathLst>
              <a:path h="6858000" w="6888162">
                <a:moveTo>
                  <a:pt x="0" y="0"/>
                </a:moveTo>
                <a:lnTo>
                  <a:pt x="6888162" y="0"/>
                </a:lnTo>
                <a:lnTo>
                  <a:pt x="6888162" y="6858000"/>
                </a:lnTo>
                <a:lnTo>
                  <a:pt x="0" y="6858000"/>
                </a:lnTo>
                <a:close/>
              </a:path>
            </a:pathLst>
          </a:custGeom>
          <a:noFill/>
        </p:spPr>
      </p:pic>
      <p:sp>
        <p:nvSpPr>
          <p:cNvPr id="5" name="TextBox 4">
            <a:extLst>
              <a:ext uri="{FF2B5EF4-FFF2-40B4-BE49-F238E27FC236}">
                <a16:creationId xmlns:a16="http://schemas.microsoft.com/office/drawing/2014/main" id="{590A50AA-A426-5973-4CBF-39A975E57555}"/>
              </a:ext>
            </a:extLst>
          </p:cNvPr>
          <p:cNvSpPr txBox="1"/>
          <p:nvPr/>
        </p:nvSpPr>
        <p:spPr>
          <a:xfrm>
            <a:off x="0" y="5350200"/>
            <a:ext cx="11377264" cy="1200329"/>
          </a:xfrm>
          <a:prstGeom prst="rect">
            <a:avLst/>
          </a:prstGeom>
          <a:noFill/>
        </p:spPr>
        <p:txBody>
          <a:bodyPr wrap="square">
            <a:spAutoFit/>
          </a:bodyPr>
          <a:lstStyle/>
          <a:p>
            <a:r>
              <a:rPr dirty="0" lang="en-IN"/>
              <a:t>Better R&amp;D</a:t>
            </a:r>
          </a:p>
          <a:p>
            <a:r>
              <a:rPr dirty="0" lang="en-IN"/>
              <a:t>The use of digital twins enables more effective research and design of products, with an abundance of data created about likely performance outcomes. That information can lead to insights that help companies make needed product refinements before starting production</a:t>
            </a:r>
          </a:p>
        </p:txBody>
      </p:sp>
      <p:sp>
        <p:nvSpPr>
          <p:cNvPr id="7" name="TextBox 6">
            <a:extLst>
              <a:ext uri="{FF2B5EF4-FFF2-40B4-BE49-F238E27FC236}">
                <a16:creationId xmlns:a16="http://schemas.microsoft.com/office/drawing/2014/main" id="{6191017B-7426-CFA5-EE0E-7FCAE4A13E6B}"/>
              </a:ext>
            </a:extLst>
          </p:cNvPr>
          <p:cNvSpPr txBox="1"/>
          <p:nvPr/>
        </p:nvSpPr>
        <p:spPr>
          <a:xfrm>
            <a:off x="119336" y="122804"/>
            <a:ext cx="6912768" cy="369332"/>
          </a:xfrm>
          <a:prstGeom prst="rect">
            <a:avLst/>
          </a:prstGeom>
          <a:noFill/>
        </p:spPr>
        <p:txBody>
          <a:bodyPr wrap="square">
            <a:spAutoFit/>
          </a:bodyPr>
          <a:lstStyle/>
          <a:p>
            <a:r>
              <a:rPr dirty="0" lang="en-IN"/>
              <a:t>Advantages and benefits of digital twins</a:t>
            </a:r>
          </a:p>
        </p:txBody>
      </p:sp>
    </p:spTree>
    <p:extLst>
      <p:ext uri="{BB962C8B-B14F-4D97-AF65-F5344CB8AC3E}">
        <p14:creationId xmlns:p14="http://schemas.microsoft.com/office/powerpoint/2010/main" val="557952547"/>
      </p:ext>
    </p:extLst>
  </p:cSld>
  <p:clrMapOvr>
    <a:masterClrMapping/>
  </p:clrMapOvr>
</p:sld>
</file>

<file path=ppt/slides/slide3.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1EB102B-18FA-A398-50F1-B05AD157CFD9}"/>
              </a:ext>
            </a:extLst>
          </p:cNvPr>
          <p:cNvSpPr txBox="1"/>
          <p:nvPr/>
        </p:nvSpPr>
        <p:spPr>
          <a:xfrm>
            <a:off x="6384032" y="1627200"/>
            <a:ext cx="5063967" cy="4825988"/>
          </a:xfrm>
          <a:prstGeom prst="rect">
            <a:avLst/>
          </a:prstGeom>
        </p:spPr>
        <p:txBody>
          <a:bodyPr bIns="0" lIns="0" rIns="0" rtlCol="0" tIns="0" vert="horz">
            <a:normAutofit/>
          </a:bodyPr>
          <a:lstStyle/>
          <a:p>
            <a:pPr>
              <a:spcBef>
                <a:spcPts val="600"/>
              </a:spcBef>
            </a:pPr>
            <a:r>
              <a:rPr dirty="0" lang="en-US">
                <a:latin charset="0" panose="02040504050005020304" pitchFamily="18" typeface="Amasis MT Pro"/>
              </a:rPr>
              <a:t>What is a digital twin?</a:t>
            </a:r>
          </a:p>
          <a:p>
            <a:pPr>
              <a:spcBef>
                <a:spcPts val="600"/>
              </a:spcBef>
            </a:pPr>
            <a:r>
              <a:rPr dirty="0" lang="en-US">
                <a:latin charset="0" panose="02040504050005020304" pitchFamily="18" typeface="Amasis MT Pro"/>
              </a:rPr>
              <a:t>A digital twin is a virtual representation of an object or system designed to reflect a physical object accurately. It spans the object's lifecycle, is updated from real-time data and uses simulation, machine learning and reasoning to help make decisions.</a:t>
            </a:r>
          </a:p>
          <a:p>
            <a:pPr>
              <a:spcBef>
                <a:spcPts val="600"/>
              </a:spcBef>
            </a:pPr>
            <a:endParaRPr dirty="0" lang="en-US" sz="1400"/>
          </a:p>
        </p:txBody>
      </p:sp>
      <p:pic>
        <p:nvPicPr>
          <p:cNvPr descr="Using Digital Twin Technology in Manufacturing - SyBridge Technologies" id="1026" name="Picture 2">
            <a:extLst>
              <a:ext uri="{FF2B5EF4-FFF2-40B4-BE49-F238E27FC236}">
                <a16:creationId xmlns:a16="http://schemas.microsoft.com/office/drawing/2014/main" id="{39B03CE6-2D66-4853-89ED-FF3274D4A4B1}"/>
              </a:ext>
            </a:extLst>
          </p:cNvPr>
          <p:cNvPicPr>
            <a:picLocks noChangeArrowheads="1" noChangeAspect="1"/>
          </p:cNvPicPr>
          <p:nvPr/>
        </p:nvPicPr>
        <p:blipFill>
          <a:blip r:embed="rId3">
            <a:extLst>
              <a:ext uri="{28A0092B-C50C-407E-A947-70E740481C1C}">
                <a14:useLocalDpi xmlns:a14="http://schemas.microsoft.com/office/drawing/2010/main" val="0"/>
              </a:ext>
            </a:extLst>
          </a:blip>
          <a:srcRect l="25" r="45"/>
          <a:stretch>
            <a:fillRect/>
          </a:stretch>
        </p:blipFill>
        <p:spPr bwMode="auto">
          <a:xfrm>
            <a:off x="20" y="10"/>
            <a:ext cx="6095980" cy="6857990"/>
          </a:xfrm>
          <a:prstGeom prst="rect">
            <a:avLst/>
          </a:prstGeom>
          <a:noFill/>
        </p:spPr>
      </p:pic>
      <p:sp>
        <p:nvSpPr>
          <p:cNvPr id="16" name="Title 15">
            <a:extLst>
              <a:ext uri="{FF2B5EF4-FFF2-40B4-BE49-F238E27FC236}">
                <a16:creationId xmlns:a16="http://schemas.microsoft.com/office/drawing/2014/main" id="{55E396BE-081B-25EA-EF3C-A8A0AB2AAD2A}"/>
              </a:ext>
            </a:extLst>
          </p:cNvPr>
          <p:cNvSpPr>
            <a:spLocks noGrp="1"/>
          </p:cNvSpPr>
          <p:nvPr>
            <p:ph type="title"/>
          </p:nvPr>
        </p:nvSpPr>
        <p:spPr>
          <a:xfrm>
            <a:off x="6359417" y="260350"/>
            <a:ext cx="5063967" cy="792163"/>
          </a:xfrm>
        </p:spPr>
        <p:txBody>
          <a:bodyPr anchor="b" anchorCtr="0" bIns="0" lIns="0" rIns="0" rtlCol="0" tIns="0" vert="horz">
            <a:normAutofit/>
          </a:bodyPr>
          <a:lstStyle/>
          <a:p>
            <a:r>
              <a:rPr b="0" baseline="0" cap="none" dirty="0" i="0" kern="1200" kumimoji="0" lang="en-US" noProof="0" normalizeH="0" spc="0" strike="noStrike" u="none">
                <a:ln>
                  <a:noFill/>
                </a:ln>
                <a:effectLst/>
                <a:uLnTx/>
                <a:uFillTx/>
                <a:latin typeface="+mj-lt"/>
                <a:ea typeface="+mj-ea"/>
                <a:cs typeface="+mj-cs"/>
              </a:rPr>
              <a:t>1.</a:t>
            </a:r>
            <a:r>
              <a:rPr baseline="0" cap="none" dirty="0" i="0" kern="1200" kumimoji="0" lang="en-US" noProof="0" normalizeH="0" spc="0" strike="noStrike" u="none">
                <a:ln>
                  <a:noFill/>
                </a:ln>
                <a:effectLst/>
                <a:uLnTx/>
                <a:uFillTx/>
              </a:rPr>
              <a:t>Introduction</a:t>
            </a:r>
            <a:r>
              <a:rPr b="0" baseline="0" cap="none" dirty="0" i="0" kern="1200" kumimoji="0" lang="en-US" noProof="0" normalizeH="0" spc="0" strike="noStrike" u="none">
                <a:ln>
                  <a:noFill/>
                </a:ln>
                <a:effectLst/>
                <a:uLnTx/>
                <a:uFillTx/>
                <a:latin typeface="+mj-lt"/>
                <a:ea typeface="+mj-ea"/>
                <a:cs typeface="+mj-cs"/>
              </a:rPr>
              <a:t> </a:t>
            </a:r>
          </a:p>
        </p:txBody>
      </p:sp>
      <p:sp>
        <p:nvSpPr>
          <p:cNvPr id="17" name="TextBox 16">
            <a:extLst>
              <a:ext uri="{FF2B5EF4-FFF2-40B4-BE49-F238E27FC236}">
                <a16:creationId xmlns:a16="http://schemas.microsoft.com/office/drawing/2014/main" id="{1E0C41FE-CAC4-A1B4-26DC-6C5F6AC172FF}"/>
              </a:ext>
            </a:extLst>
          </p:cNvPr>
          <p:cNvSpPr txBox="1"/>
          <p:nvPr/>
        </p:nvSpPr>
        <p:spPr>
          <a:xfrm>
            <a:off x="414971" y="1243013"/>
            <a:ext cx="5313706" cy="4352544"/>
          </a:xfrm>
          <a:prstGeom prst="rect">
            <a:avLst/>
          </a:prstGeom>
        </p:spPr>
        <p:txBody>
          <a:bodyPr anchor="t" bIns="46800" lIns="90000" rIns="90000" rtlCol="0" tIns="46800" vert="horz">
            <a:noAutofit/>
          </a:bodyPr>
          <a:lstStyle/>
          <a:p>
            <a:pPr>
              <a:spcAft>
                <a:spcPts val="600"/>
              </a:spcAft>
            </a:pPr>
            <a:endParaRPr dirty="0" kern="1200" lang="en-US"/>
          </a:p>
        </p:txBody>
      </p:sp>
    </p:spTree>
    <p:extLst>
      <p:ext uri="{BB962C8B-B14F-4D97-AF65-F5344CB8AC3E}">
        <p14:creationId xmlns:p14="http://schemas.microsoft.com/office/powerpoint/2010/main" val="15939457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C336A2-6CD5-8E7F-72E7-CB3969A251EA}"/>
              </a:ext>
            </a:extLst>
          </p:cNvPr>
          <p:cNvSpPr>
            <a:spLocks noGrp="1"/>
          </p:cNvSpPr>
          <p:nvPr>
            <p:ph type="ctrTitle"/>
          </p:nvPr>
        </p:nvSpPr>
        <p:spPr>
          <a:xfrm>
            <a:off x="263352" y="5949280"/>
            <a:ext cx="10729192" cy="492125"/>
          </a:xfrm>
        </p:spPr>
        <p:txBody>
          <a:bodyPr/>
          <a:lstStyle/>
          <a:p>
            <a:r>
              <a:rPr lang="en-US" dirty="0"/>
              <a:t>6. Industry Examples</a:t>
            </a:r>
            <a:br>
              <a:rPr lang="en-US" dirty="0"/>
            </a:br>
            <a:endParaRPr lang="en-IN" dirty="0"/>
          </a:p>
        </p:txBody>
      </p:sp>
    </p:spTree>
    <p:extLst>
      <p:ext uri="{BB962C8B-B14F-4D97-AF65-F5344CB8AC3E}">
        <p14:creationId xmlns:p14="http://schemas.microsoft.com/office/powerpoint/2010/main" val="1375431607"/>
      </p:ext>
    </p:extLst>
  </p:cSld>
  <p:clrMapOvr>
    <a:masterClrMapping/>
  </p:clrMapOvr>
</p:sld>
</file>

<file path=ppt/slides/slide31.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035" name="Text Placeholder 1">
            <a:extLst>
              <a:ext uri="{FF2B5EF4-FFF2-40B4-BE49-F238E27FC236}">
                <a16:creationId xmlns:a16="http://schemas.microsoft.com/office/drawing/2014/main" id="{B0F4D778-CA77-F839-53C8-9A2503B45806}"/>
              </a:ext>
            </a:extLst>
          </p:cNvPr>
          <p:cNvSpPr>
            <a:spLocks noGrp="1"/>
          </p:cNvSpPr>
          <p:nvPr>
            <p:ph idx="15" sz="quarter" type="body"/>
          </p:nvPr>
        </p:nvSpPr>
        <p:spPr>
          <a:xfrm>
            <a:off x="6384032" y="1125538"/>
            <a:ext cx="5063967" cy="246221"/>
          </a:xfrm>
        </p:spPr>
        <p:txBody>
          <a:bodyPr/>
          <a:lstStyle/>
          <a:p>
            <a:endParaRPr lang="en-US"/>
          </a:p>
        </p:txBody>
      </p:sp>
      <p:sp>
        <p:nvSpPr>
          <p:cNvPr id="3" name="Text Placeholder 2">
            <a:extLst>
              <a:ext uri="{FF2B5EF4-FFF2-40B4-BE49-F238E27FC236}">
                <a16:creationId xmlns:a16="http://schemas.microsoft.com/office/drawing/2014/main" id="{A8872304-0F52-4EE2-5336-399A77B7839C}"/>
              </a:ext>
            </a:extLst>
          </p:cNvPr>
          <p:cNvSpPr>
            <a:spLocks noGrp="1"/>
          </p:cNvSpPr>
          <p:nvPr>
            <p:ph idx="17" sz="quarter" type="body"/>
          </p:nvPr>
        </p:nvSpPr>
        <p:spPr>
          <a:xfrm>
            <a:off x="6384032" y="1627200"/>
            <a:ext cx="5063967" cy="4825988"/>
          </a:xfrm>
        </p:spPr>
        <p:txBody>
          <a:bodyPr>
            <a:normAutofit/>
          </a:bodyPr>
          <a:lstStyle/>
          <a:p>
            <a:pPr>
              <a:buNone/>
            </a:pPr>
            <a:r>
              <a:rPr b="1" dirty="0" lang="en-US" sz="1600">
                <a:latin charset="0" panose="02040504050005020304" pitchFamily="18" typeface="Amasis MT Pro"/>
              </a:rPr>
              <a:t>Tesla – Performance Optimization &amp; OTA Updates</a:t>
            </a:r>
            <a:endParaRPr dirty="0" lang="en-US" sz="1600">
              <a:latin charset="0" panose="02040504050005020304" pitchFamily="18" typeface="Amasis MT Pro"/>
            </a:endParaRPr>
          </a:p>
          <a:p>
            <a:pPr>
              <a:buFont charset="0" panose="020B0604020202020204" pitchFamily="34" typeface="Arial"/>
              <a:buChar char="•"/>
            </a:pPr>
            <a:r>
              <a:rPr dirty="0" lang="en-US" sz="1600">
                <a:latin charset="0" panose="02040504050005020304" pitchFamily="18" typeface="Amasis MT Pro"/>
              </a:rPr>
              <a:t>Digital twin created for every car, mirroring real-time data.</a:t>
            </a:r>
          </a:p>
          <a:p>
            <a:pPr>
              <a:buFont charset="0" panose="020B0604020202020204" pitchFamily="34" typeface="Arial"/>
              <a:buChar char="•"/>
            </a:pPr>
            <a:r>
              <a:rPr dirty="0" lang="en-US" sz="1600">
                <a:latin charset="0" panose="02040504050005020304" pitchFamily="18" typeface="Amasis MT Pro"/>
              </a:rPr>
              <a:t>Monitors motor, battery, and software health.</a:t>
            </a:r>
          </a:p>
          <a:p>
            <a:pPr>
              <a:buFont charset="0" panose="020B0604020202020204" pitchFamily="34" typeface="Arial"/>
              <a:buChar char="•"/>
            </a:pPr>
            <a:r>
              <a:rPr dirty="0" lang="en-US" sz="1600">
                <a:latin charset="0" panose="02040504050005020304" pitchFamily="18" typeface="Amasis MT Pro"/>
              </a:rPr>
              <a:t>Enables </a:t>
            </a:r>
            <a:r>
              <a:rPr b="1" dirty="0" lang="en-US" sz="1600">
                <a:latin charset="0" panose="02040504050005020304" pitchFamily="18" typeface="Amasis MT Pro"/>
              </a:rPr>
              <a:t>Over-the-Air (OTA)</a:t>
            </a:r>
            <a:r>
              <a:rPr dirty="0" lang="en-US" sz="1600">
                <a:latin charset="0" panose="02040504050005020304" pitchFamily="18" typeface="Amasis MT Pro"/>
              </a:rPr>
              <a:t> updates to fix bugs and enhance features.</a:t>
            </a:r>
          </a:p>
          <a:p>
            <a:pPr>
              <a:buFont charset="0" panose="020B0604020202020204" pitchFamily="34" typeface="Arial"/>
              <a:buChar char="•"/>
            </a:pPr>
            <a:r>
              <a:rPr dirty="0" lang="en-US" sz="1600">
                <a:latin charset="0" panose="02040504050005020304" pitchFamily="18" typeface="Amasis MT Pro"/>
              </a:rPr>
              <a:t>Boosts predictive diagnostics and customer experience.</a:t>
            </a:r>
          </a:p>
          <a:p>
            <a:endParaRPr dirty="0" lang="en-US" sz="1600">
              <a:latin charset="0" panose="02040504050005020304" pitchFamily="18" typeface="Amasis MT Pro"/>
            </a:endParaRPr>
          </a:p>
          <a:p>
            <a:pPr>
              <a:buNone/>
            </a:pPr>
            <a:r>
              <a:rPr b="1" dirty="0" lang="en-US" sz="1600">
                <a:latin charset="0" panose="02040504050005020304" pitchFamily="18" typeface="Amasis MT Pro"/>
              </a:rPr>
              <a:t>BMW – Smart Factory Planning</a:t>
            </a:r>
            <a:endParaRPr dirty="0" lang="en-US" sz="1600">
              <a:latin charset="0" panose="02040504050005020304" pitchFamily="18" typeface="Amasis MT Pro"/>
            </a:endParaRPr>
          </a:p>
          <a:p>
            <a:pPr>
              <a:buFont charset="0" panose="020B0604020202020204" pitchFamily="34" typeface="Arial"/>
              <a:buChar char="•"/>
            </a:pPr>
            <a:r>
              <a:rPr dirty="0" lang="en-US" sz="1600">
                <a:latin charset="0" panose="02040504050005020304" pitchFamily="18" typeface="Amasis MT Pro"/>
              </a:rPr>
              <a:t>Uses digital twins to simulate production lines and machines.</a:t>
            </a:r>
          </a:p>
          <a:p>
            <a:pPr>
              <a:buFont charset="0" panose="020B0604020202020204" pitchFamily="34" typeface="Arial"/>
              <a:buChar char="•"/>
            </a:pPr>
            <a:r>
              <a:rPr dirty="0" lang="en-US" sz="1600">
                <a:latin charset="0" panose="02040504050005020304" pitchFamily="18" typeface="Amasis MT Pro"/>
              </a:rPr>
              <a:t>Optimizes layout, logistics, and process workflows.</a:t>
            </a:r>
          </a:p>
          <a:p>
            <a:pPr>
              <a:buFont charset="0" panose="020B0604020202020204" pitchFamily="34" typeface="Arial"/>
              <a:buChar char="•"/>
            </a:pPr>
            <a:r>
              <a:rPr dirty="0" lang="en-US" sz="1600">
                <a:latin charset="0" panose="02040504050005020304" pitchFamily="18" typeface="Amasis MT Pro"/>
              </a:rPr>
              <a:t>Enables early error detection and </a:t>
            </a:r>
            <a:r>
              <a:rPr b="1" dirty="0" lang="en-US" sz="1600">
                <a:latin charset="0" panose="02040504050005020304" pitchFamily="18" typeface="Amasis MT Pro"/>
              </a:rPr>
              <a:t>virtual commissioning</a:t>
            </a:r>
            <a:r>
              <a:rPr dirty="0" lang="en-US" sz="1600">
                <a:latin charset="0" panose="02040504050005020304" pitchFamily="18" typeface="Amasis MT Pro"/>
              </a:rPr>
              <a:t>.</a:t>
            </a:r>
          </a:p>
          <a:p>
            <a:pPr>
              <a:buFont charset="0" panose="020B0604020202020204" pitchFamily="34" typeface="Arial"/>
              <a:buChar char="•"/>
            </a:pPr>
            <a:r>
              <a:rPr dirty="0" lang="en-US" sz="1600">
                <a:latin charset="0" panose="02040504050005020304" pitchFamily="18" typeface="Amasis MT Pro"/>
              </a:rPr>
              <a:t>Reduces manufacturing costs and increases agility.</a:t>
            </a:r>
          </a:p>
          <a:p>
            <a:endParaRPr dirty="0" lang="en-IN"/>
          </a:p>
        </p:txBody>
      </p:sp>
      <p:pic>
        <p:nvPicPr>
          <p:cNvPr descr="Photo Comparison: BMW i4 vs Tesla Model 3" id="1030" name="Picture 6">
            <a:extLst>
              <a:ext uri="{FF2B5EF4-FFF2-40B4-BE49-F238E27FC236}">
                <a16:creationId xmlns:a16="http://schemas.microsoft.com/office/drawing/2014/main" id="{94865EE0-20BE-F740-46FF-920398AD5AF4}"/>
              </a:ext>
            </a:extLst>
          </p:cNvPr>
          <p:cNvPicPr>
            <a:picLocks noChangeArrowheads="1" noChangeAspect="1"/>
          </p:cNvPicPr>
          <p:nvPr/>
        </p:nvPicPr>
        <p:blipFill>
          <a:blip r:embed="rId3">
            <a:extLst>
              <a:ext uri="{28A0092B-C50C-407E-A947-70E740481C1C}">
                <a14:useLocalDpi xmlns:a14="http://schemas.microsoft.com/office/drawing/2010/main" val="0"/>
              </a:ext>
            </a:extLst>
          </a:blip>
          <a:srcRect l="84" r="20"/>
          <a:stretch>
            <a:fillRect/>
          </a:stretch>
        </p:blipFill>
        <p:spPr bwMode="auto">
          <a:xfrm>
            <a:off x="20" y="10"/>
            <a:ext cx="6095980" cy="6857990"/>
          </a:xfrm>
          <a:prstGeom prst="rect">
            <a:avLst/>
          </a:prstGeom>
          <a:solidFill>
            <a:srgbClr val="FFFFFF"/>
          </a:solidFill>
        </p:spPr>
      </p:pic>
      <p:sp>
        <p:nvSpPr>
          <p:cNvPr id="5" name="Title 4">
            <a:extLst>
              <a:ext uri="{FF2B5EF4-FFF2-40B4-BE49-F238E27FC236}">
                <a16:creationId xmlns:a16="http://schemas.microsoft.com/office/drawing/2014/main" id="{1146CDE0-55BF-1FE1-90E7-50C7AA422A25}"/>
              </a:ext>
            </a:extLst>
          </p:cNvPr>
          <p:cNvSpPr>
            <a:spLocks noGrp="1"/>
          </p:cNvSpPr>
          <p:nvPr>
            <p:ph type="title"/>
          </p:nvPr>
        </p:nvSpPr>
        <p:spPr>
          <a:xfrm>
            <a:off x="6359417" y="260350"/>
            <a:ext cx="5063967" cy="792163"/>
          </a:xfrm>
        </p:spPr>
        <p:txBody>
          <a:bodyPr anchor="b">
            <a:normAutofit/>
          </a:bodyPr>
          <a:lstStyle/>
          <a:p>
            <a:r>
              <a:rPr dirty="0" lang="en-IN"/>
              <a:t>Tesla &amp; BMW</a:t>
            </a:r>
          </a:p>
        </p:txBody>
      </p:sp>
    </p:spTree>
    <p:extLst>
      <p:ext uri="{BB962C8B-B14F-4D97-AF65-F5344CB8AC3E}">
        <p14:creationId xmlns:p14="http://schemas.microsoft.com/office/powerpoint/2010/main" val="3738279188"/>
      </p:ext>
    </p:extLst>
  </p:cSld>
  <p:clrMapOvr>
    <a:masterClrMapping/>
  </p:clrMapOvr>
</p:sld>
</file>

<file path=ppt/slides/slide32.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60534F99-C983-736D-245F-E112D12FE38C}"/>
            </a:ext>
          </a:extLst>
        </p:cNvPr>
        <p:cNvGrpSpPr/>
        <p:nvPr/>
      </p:nvGrpSpPr>
      <p:grpSpPr>
        <a:xfrm>
          <a:off x="0" y="0"/>
          <a:ext cx="0" cy="0"/>
          <a:chOff x="0" y="0"/>
          <a:chExt cx="0" cy="0"/>
        </a:xfrm>
      </p:grpSpPr>
      <p:sp>
        <p:nvSpPr>
          <p:cNvPr id="2060" name="Text Placeholder 1">
            <a:extLst>
              <a:ext uri="{FF2B5EF4-FFF2-40B4-BE49-F238E27FC236}">
                <a16:creationId xmlns:a16="http://schemas.microsoft.com/office/drawing/2014/main" id="{45E262A0-EF4E-C2C8-7784-CC6848DC1EF0}"/>
              </a:ext>
            </a:extLst>
          </p:cNvPr>
          <p:cNvSpPr>
            <a:spLocks noGrp="1"/>
          </p:cNvSpPr>
          <p:nvPr>
            <p:ph idx="15" sz="quarter" type="body"/>
          </p:nvPr>
        </p:nvSpPr>
        <p:spPr>
          <a:xfrm>
            <a:off x="6384032" y="1125538"/>
            <a:ext cx="5063967" cy="246221"/>
          </a:xfrm>
        </p:spPr>
        <p:txBody>
          <a:bodyPr/>
          <a:lstStyle/>
          <a:p>
            <a:endParaRPr lang="en-US"/>
          </a:p>
        </p:txBody>
      </p:sp>
      <p:sp>
        <p:nvSpPr>
          <p:cNvPr id="3" name="Text Placeholder 2">
            <a:extLst>
              <a:ext uri="{FF2B5EF4-FFF2-40B4-BE49-F238E27FC236}">
                <a16:creationId xmlns:a16="http://schemas.microsoft.com/office/drawing/2014/main" id="{C18E4FF6-66F2-5209-7539-B26FD015E4CD}"/>
              </a:ext>
            </a:extLst>
          </p:cNvPr>
          <p:cNvSpPr>
            <a:spLocks noGrp="1"/>
          </p:cNvSpPr>
          <p:nvPr>
            <p:ph idx="17" sz="quarter" type="body"/>
          </p:nvPr>
        </p:nvSpPr>
        <p:spPr>
          <a:xfrm>
            <a:off x="6384032" y="1627200"/>
            <a:ext cx="5063967" cy="4825988"/>
          </a:xfrm>
        </p:spPr>
        <p:txBody>
          <a:bodyPr>
            <a:normAutofit/>
          </a:bodyPr>
          <a:lstStyle/>
          <a:p>
            <a:pPr>
              <a:buNone/>
            </a:pPr>
            <a:r>
              <a:rPr b="1" dirty="0" lang="en-IN" sz="1600">
                <a:latin charset="0" panose="02040504050005020304" pitchFamily="18" typeface="Amasis MT Pro"/>
              </a:rPr>
              <a:t>Volkswagen – Predictive Maintenance</a:t>
            </a:r>
            <a:endParaRPr dirty="0" lang="en-IN" sz="1600">
              <a:latin charset="0" panose="02040504050005020304" pitchFamily="18" typeface="Amasis MT Pro"/>
            </a:endParaRPr>
          </a:p>
          <a:p>
            <a:pPr>
              <a:buFont charset="0" panose="020B0604020202020204" pitchFamily="34" typeface="Arial"/>
              <a:buChar char="•"/>
            </a:pPr>
            <a:r>
              <a:rPr dirty="0" lang="en-IN" sz="1600">
                <a:latin charset="0" panose="02040504050005020304" pitchFamily="18" typeface="Amasis MT Pro"/>
              </a:rPr>
              <a:t>Cloud-based digital twins monitor component health (e.g., engine, brakes).</a:t>
            </a:r>
          </a:p>
          <a:p>
            <a:pPr>
              <a:buFont charset="0" panose="020B0604020202020204" pitchFamily="34" typeface="Arial"/>
              <a:buChar char="•"/>
            </a:pPr>
            <a:r>
              <a:rPr dirty="0" lang="en-IN" sz="1600">
                <a:latin charset="0" panose="02040504050005020304" pitchFamily="18" typeface="Amasis MT Pro"/>
              </a:rPr>
              <a:t>AI </a:t>
            </a:r>
            <a:r>
              <a:rPr dirty="0" err="1" lang="en-IN" sz="1600">
                <a:latin charset="0" panose="02040504050005020304" pitchFamily="18" typeface="Amasis MT Pro"/>
              </a:rPr>
              <a:t>analyzes</a:t>
            </a:r>
            <a:r>
              <a:rPr dirty="0" lang="en-IN" sz="1600">
                <a:latin charset="0" panose="02040504050005020304" pitchFamily="18" typeface="Amasis MT Pro"/>
              </a:rPr>
              <a:t> wear and predicts maintenance needs.</a:t>
            </a:r>
          </a:p>
          <a:p>
            <a:pPr>
              <a:buFont charset="0" panose="020B0604020202020204" pitchFamily="34" typeface="Arial"/>
              <a:buChar char="•"/>
            </a:pPr>
            <a:r>
              <a:rPr dirty="0" lang="en-IN" sz="1600">
                <a:latin charset="0" panose="02040504050005020304" pitchFamily="18" typeface="Amasis MT Pro"/>
              </a:rPr>
              <a:t>Minimizes unexpected breakdowns, improves safety.</a:t>
            </a:r>
          </a:p>
          <a:p>
            <a:endParaRPr dirty="0" lang="en-IN" sz="1600">
              <a:latin charset="0" panose="02040504050005020304" pitchFamily="18" typeface="Amasis MT Pro"/>
            </a:endParaRPr>
          </a:p>
          <a:p>
            <a:pPr>
              <a:buNone/>
            </a:pPr>
            <a:r>
              <a:rPr b="1" dirty="0" lang="en-IN" sz="1600">
                <a:latin charset="0" panose="02040504050005020304" pitchFamily="18" typeface="Amasis MT Pro"/>
              </a:rPr>
              <a:t>Volvo – Autonomous Driving Simulation</a:t>
            </a:r>
            <a:endParaRPr dirty="0" lang="en-IN" sz="1600">
              <a:latin charset="0" panose="02040504050005020304" pitchFamily="18" typeface="Amasis MT Pro"/>
            </a:endParaRPr>
          </a:p>
          <a:p>
            <a:pPr>
              <a:buFont charset="0" panose="020B0604020202020204" pitchFamily="34" typeface="Arial"/>
              <a:buChar char="•"/>
            </a:pPr>
            <a:r>
              <a:rPr dirty="0" lang="en-IN" sz="1600">
                <a:latin charset="0" panose="02040504050005020304" pitchFamily="18" typeface="Amasis MT Pro"/>
              </a:rPr>
              <a:t>Simulated environments for testing ADAS and AV software.</a:t>
            </a:r>
          </a:p>
          <a:p>
            <a:pPr>
              <a:buFont charset="0" panose="020B0604020202020204" pitchFamily="34" typeface="Arial"/>
              <a:buChar char="•"/>
            </a:pPr>
            <a:r>
              <a:rPr dirty="0" lang="en-IN" sz="1600">
                <a:latin charset="0" panose="02040504050005020304" pitchFamily="18" typeface="Amasis MT Pro"/>
              </a:rPr>
              <a:t>Digital twins help train AI for decision-making and safety.</a:t>
            </a:r>
          </a:p>
          <a:p>
            <a:pPr>
              <a:buFont charset="0" panose="020B0604020202020204" pitchFamily="34" typeface="Arial"/>
              <a:buChar char="•"/>
            </a:pPr>
            <a:r>
              <a:rPr dirty="0" lang="en-IN" sz="1600">
                <a:latin charset="0" panose="02040504050005020304" pitchFamily="18" typeface="Amasis MT Pro"/>
              </a:rPr>
              <a:t>Cuts down physical testing and speeds up R&amp;D.</a:t>
            </a:r>
          </a:p>
          <a:p>
            <a:endParaRPr dirty="0" lang="en-IN"/>
          </a:p>
        </p:txBody>
      </p:sp>
      <p:pic>
        <p:nvPicPr>
          <p:cNvPr descr="A two cars parked on grass&#10;&#10;AI-generated content may be incorrect." id="6" name="Picture 5">
            <a:extLst>
              <a:ext uri="{FF2B5EF4-FFF2-40B4-BE49-F238E27FC236}">
                <a16:creationId xmlns:a16="http://schemas.microsoft.com/office/drawing/2014/main" id="{4D975C1D-45A2-F476-F4D3-C2CCD677BBDD}"/>
              </a:ext>
            </a:extLst>
          </p:cNvPr>
          <p:cNvPicPr>
            <a:picLocks noChangeAspect="1"/>
          </p:cNvPicPr>
          <p:nvPr/>
        </p:nvPicPr>
        <p:blipFill>
          <a:blip r:embed="rId3"/>
          <a:srcRect b="-1" r="-1" t="35"/>
          <a:stretch>
            <a:fillRect/>
          </a:stretch>
        </p:blipFill>
        <p:spPr>
          <a:xfrm>
            <a:off x="20" y="10"/>
            <a:ext cx="6095980" cy="6857990"/>
          </a:xfrm>
          <a:prstGeom prst="rect">
            <a:avLst/>
          </a:prstGeom>
          <a:noFill/>
        </p:spPr>
      </p:pic>
      <p:sp>
        <p:nvSpPr>
          <p:cNvPr id="2062" name="Title 4">
            <a:extLst>
              <a:ext uri="{FF2B5EF4-FFF2-40B4-BE49-F238E27FC236}">
                <a16:creationId xmlns:a16="http://schemas.microsoft.com/office/drawing/2014/main" id="{222AD586-5E76-9896-8265-9097D08EB9C1}"/>
              </a:ext>
            </a:extLst>
          </p:cNvPr>
          <p:cNvSpPr>
            <a:spLocks noGrp="1"/>
          </p:cNvSpPr>
          <p:nvPr>
            <p:ph type="title"/>
          </p:nvPr>
        </p:nvSpPr>
        <p:spPr>
          <a:xfrm>
            <a:off x="6359417" y="260350"/>
            <a:ext cx="5063967" cy="792163"/>
          </a:xfrm>
        </p:spPr>
        <p:txBody>
          <a:bodyPr/>
          <a:lstStyle/>
          <a:p>
            <a:endParaRPr lang="en-US"/>
          </a:p>
        </p:txBody>
      </p:sp>
      <p:sp>
        <p:nvSpPr>
          <p:cNvPr id="5" name="Title 4">
            <a:extLst>
              <a:ext uri="{FF2B5EF4-FFF2-40B4-BE49-F238E27FC236}">
                <a16:creationId xmlns:a16="http://schemas.microsoft.com/office/drawing/2014/main" id="{79A2F1AE-2F92-99CC-8AE4-B28E2B90BC70}"/>
              </a:ext>
            </a:extLst>
          </p:cNvPr>
          <p:cNvSpPr>
            <a:spLocks noGrp="1"/>
          </p:cNvSpPr>
          <p:nvPr>
            <p:ph type="title"/>
          </p:nvPr>
        </p:nvSpPr>
        <p:spPr>
          <a:xfrm>
            <a:off x="6781315" y="-1498996"/>
            <a:ext cx="4286342" cy="649618"/>
          </a:xfrm>
        </p:spPr>
        <p:txBody>
          <a:bodyPr anchor="b">
            <a:normAutofit/>
          </a:bodyPr>
          <a:lstStyle/>
          <a:p>
            <a:r>
              <a:rPr dirty="0" lang="en-IN"/>
              <a:t>Volkswagen &amp; Volvo</a:t>
            </a:r>
          </a:p>
        </p:txBody>
      </p:sp>
    </p:spTree>
    <p:extLst>
      <p:ext uri="{BB962C8B-B14F-4D97-AF65-F5344CB8AC3E}">
        <p14:creationId xmlns:p14="http://schemas.microsoft.com/office/powerpoint/2010/main" val="3308493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53DCEA-14B2-8677-89F3-BB90D1ECB7B1}"/>
              </a:ext>
            </a:extLst>
          </p:cNvPr>
          <p:cNvSpPr>
            <a:spLocks noGrp="1"/>
          </p:cNvSpPr>
          <p:nvPr>
            <p:ph type="ctrTitle"/>
          </p:nvPr>
        </p:nvSpPr>
        <p:spPr/>
        <p:txBody>
          <a:bodyPr/>
          <a:lstStyle/>
          <a:p>
            <a:r>
              <a:rPr lang="en-US" dirty="0"/>
              <a:t>7. Benefits of Digital Twin in Automotive</a:t>
            </a:r>
            <a:endParaRPr lang="en-IN" dirty="0"/>
          </a:p>
        </p:txBody>
      </p:sp>
    </p:spTree>
    <p:extLst>
      <p:ext uri="{BB962C8B-B14F-4D97-AF65-F5344CB8AC3E}">
        <p14:creationId xmlns:p14="http://schemas.microsoft.com/office/powerpoint/2010/main" val="1932760137"/>
      </p:ext>
    </p:extLst>
  </p:cSld>
  <p:clrMapOvr>
    <a:masterClrMapping/>
  </p:clrMapOvr>
</p:sld>
</file>

<file path=ppt/slides/slide34.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083" name="Text Placeholder 1">
            <a:extLst>
              <a:ext uri="{FF2B5EF4-FFF2-40B4-BE49-F238E27FC236}">
                <a16:creationId xmlns:a16="http://schemas.microsoft.com/office/drawing/2014/main" id="{C2E5B98D-5445-2C8A-25D3-BAFCA4FF03E3}"/>
              </a:ext>
            </a:extLst>
          </p:cNvPr>
          <p:cNvSpPr>
            <a:spLocks noGrp="1"/>
          </p:cNvSpPr>
          <p:nvPr>
            <p:ph idx="15" sz="quarter" type="body"/>
          </p:nvPr>
        </p:nvSpPr>
        <p:spPr>
          <a:xfrm>
            <a:off x="6384032" y="1125538"/>
            <a:ext cx="5063967" cy="246221"/>
          </a:xfrm>
        </p:spPr>
        <p:txBody>
          <a:bodyPr/>
          <a:lstStyle/>
          <a:p>
            <a:endParaRPr lang="en-US"/>
          </a:p>
        </p:txBody>
      </p:sp>
      <p:sp>
        <p:nvSpPr>
          <p:cNvPr id="3" name="Text Placeholder 2">
            <a:extLst>
              <a:ext uri="{FF2B5EF4-FFF2-40B4-BE49-F238E27FC236}">
                <a16:creationId xmlns:a16="http://schemas.microsoft.com/office/drawing/2014/main" id="{735158A2-1ED5-DA63-86D9-0B0800961826}"/>
              </a:ext>
            </a:extLst>
          </p:cNvPr>
          <p:cNvSpPr>
            <a:spLocks noGrp="1"/>
          </p:cNvSpPr>
          <p:nvPr>
            <p:ph idx="17" sz="quarter" type="body"/>
          </p:nvPr>
        </p:nvSpPr>
        <p:spPr>
          <a:xfrm>
            <a:off x="6384032" y="1627200"/>
            <a:ext cx="5063967" cy="4825988"/>
          </a:xfrm>
        </p:spPr>
        <p:txBody>
          <a:bodyPr>
            <a:normAutofit/>
          </a:bodyPr>
          <a:lstStyle/>
          <a:p>
            <a:pPr>
              <a:lnSpc>
                <a:spcPct val="90000"/>
              </a:lnSpc>
              <a:buNone/>
            </a:pPr>
            <a:r>
              <a:rPr b="1" dirty="0" lang="en-US"/>
              <a:t>✅ </a:t>
            </a:r>
            <a:r>
              <a:rPr b="1" dirty="0" lang="en-US">
                <a:latin charset="0" panose="02040504050005020304" pitchFamily="18" typeface="Amasis MT Pro"/>
              </a:rPr>
              <a:t>Reduced Development Time &amp; Costs</a:t>
            </a:r>
            <a:endParaRPr dirty="0" lang="en-US">
              <a:latin charset="0" panose="02040504050005020304" pitchFamily="18" typeface="Amasis MT Pro"/>
            </a:endParaRPr>
          </a:p>
          <a:p>
            <a:pPr>
              <a:lnSpc>
                <a:spcPct val="90000"/>
              </a:lnSpc>
              <a:buFont charset="0" panose="020B0604020202020204" pitchFamily="34" typeface="Arial"/>
              <a:buChar char="•"/>
            </a:pPr>
            <a:r>
              <a:rPr dirty="0" lang="en-US">
                <a:latin charset="0" panose="02040504050005020304" pitchFamily="18" typeface="Amasis MT Pro"/>
              </a:rPr>
              <a:t>Virtual testing and simulation cut down on physical prototypes.</a:t>
            </a:r>
          </a:p>
          <a:p>
            <a:pPr>
              <a:lnSpc>
                <a:spcPct val="90000"/>
              </a:lnSpc>
              <a:buFont charset="0" panose="020B0604020202020204" pitchFamily="34" typeface="Arial"/>
              <a:buChar char="•"/>
            </a:pPr>
            <a:r>
              <a:rPr dirty="0" lang="en-US">
                <a:latin charset="0" panose="02040504050005020304" pitchFamily="18" typeface="Amasis MT Pro"/>
              </a:rPr>
              <a:t>Faster iterations and early error detection lower R&amp;D expenses.</a:t>
            </a:r>
          </a:p>
          <a:p>
            <a:pPr>
              <a:lnSpc>
                <a:spcPct val="90000"/>
              </a:lnSpc>
            </a:pPr>
            <a:endParaRPr dirty="0" lang="en-US">
              <a:latin charset="0" panose="02040504050005020304" pitchFamily="18" typeface="Amasis MT Pro"/>
            </a:endParaRPr>
          </a:p>
          <a:p>
            <a:pPr>
              <a:lnSpc>
                <a:spcPct val="90000"/>
              </a:lnSpc>
              <a:buNone/>
            </a:pPr>
            <a:r>
              <a:rPr b="1" dirty="0" lang="en-US">
                <a:latin charset="0" panose="02040504050005020304" pitchFamily="18" typeface="Amasis MT Pro"/>
              </a:rPr>
              <a:t>✅ Enhanced Safety &amp; Reliability</a:t>
            </a:r>
            <a:endParaRPr dirty="0" lang="en-US">
              <a:latin charset="0" panose="02040504050005020304" pitchFamily="18" typeface="Amasis MT Pro"/>
            </a:endParaRPr>
          </a:p>
          <a:p>
            <a:pPr>
              <a:lnSpc>
                <a:spcPct val="90000"/>
              </a:lnSpc>
              <a:buFont charset="0" panose="020B0604020202020204" pitchFamily="34" typeface="Arial"/>
              <a:buChar char="•"/>
            </a:pPr>
            <a:r>
              <a:rPr dirty="0" lang="en-US">
                <a:latin charset="0" panose="02040504050005020304" pitchFamily="18" typeface="Amasis MT Pro"/>
              </a:rPr>
              <a:t>Real-time monitoring and predictive analytics prevent failures.</a:t>
            </a:r>
          </a:p>
          <a:p>
            <a:pPr>
              <a:lnSpc>
                <a:spcPct val="90000"/>
              </a:lnSpc>
              <a:buFont charset="0" panose="020B0604020202020204" pitchFamily="34" typeface="Arial"/>
              <a:buChar char="•"/>
            </a:pPr>
            <a:r>
              <a:rPr dirty="0" lang="en-US">
                <a:latin charset="0" panose="02040504050005020304" pitchFamily="18" typeface="Amasis MT Pro"/>
              </a:rPr>
              <a:t>Improves system robustness and reduces recalls.</a:t>
            </a:r>
          </a:p>
          <a:p>
            <a:pPr>
              <a:lnSpc>
                <a:spcPct val="90000"/>
              </a:lnSpc>
            </a:pPr>
            <a:endParaRPr dirty="0" lang="en-US">
              <a:latin charset="0" panose="02040504050005020304" pitchFamily="18" typeface="Amasis MT Pro"/>
            </a:endParaRPr>
          </a:p>
          <a:p>
            <a:pPr>
              <a:lnSpc>
                <a:spcPct val="90000"/>
              </a:lnSpc>
              <a:buNone/>
            </a:pPr>
            <a:r>
              <a:rPr b="1" dirty="0" lang="en-US">
                <a:latin charset="0" panose="02040504050005020304" pitchFamily="18" typeface="Amasis MT Pro"/>
              </a:rPr>
              <a:t>✅ Optimized Manufacturing Efficiency</a:t>
            </a:r>
            <a:endParaRPr dirty="0" lang="en-US">
              <a:latin charset="0" panose="02040504050005020304" pitchFamily="18" typeface="Amasis MT Pro"/>
            </a:endParaRPr>
          </a:p>
          <a:p>
            <a:pPr>
              <a:lnSpc>
                <a:spcPct val="90000"/>
              </a:lnSpc>
              <a:buFont charset="0" panose="020B0604020202020204" pitchFamily="34" typeface="Arial"/>
              <a:buChar char="•"/>
            </a:pPr>
            <a:r>
              <a:rPr dirty="0" lang="en-US">
                <a:latin charset="0" panose="02040504050005020304" pitchFamily="18" typeface="Amasis MT Pro"/>
              </a:rPr>
              <a:t>Digital twins streamline factory planning and operations.</a:t>
            </a:r>
          </a:p>
          <a:p>
            <a:pPr>
              <a:lnSpc>
                <a:spcPct val="90000"/>
              </a:lnSpc>
              <a:buFont charset="0" panose="020B0604020202020204" pitchFamily="34" typeface="Arial"/>
              <a:buChar char="•"/>
            </a:pPr>
            <a:r>
              <a:rPr dirty="0" lang="en-US">
                <a:latin charset="0" panose="02040504050005020304" pitchFamily="18" typeface="Amasis MT Pro"/>
              </a:rPr>
              <a:t>Boosts productivity and reduces downtime.</a:t>
            </a:r>
          </a:p>
          <a:p>
            <a:pPr>
              <a:lnSpc>
                <a:spcPct val="90000"/>
              </a:lnSpc>
            </a:pPr>
            <a:endParaRPr dirty="0" lang="en-US">
              <a:latin charset="0" panose="02040504050005020304" pitchFamily="18" typeface="Amasis MT Pro"/>
            </a:endParaRPr>
          </a:p>
          <a:p>
            <a:pPr>
              <a:lnSpc>
                <a:spcPct val="90000"/>
              </a:lnSpc>
              <a:buNone/>
            </a:pPr>
            <a:r>
              <a:rPr b="1" dirty="0" lang="en-US">
                <a:latin charset="0" panose="02040504050005020304" pitchFamily="18" typeface="Amasis MT Pro"/>
              </a:rPr>
              <a:t>✅ Improved Customer Satisfaction &amp; Service</a:t>
            </a:r>
            <a:endParaRPr dirty="0" lang="en-US">
              <a:latin charset="0" panose="02040504050005020304" pitchFamily="18" typeface="Amasis MT Pro"/>
            </a:endParaRPr>
          </a:p>
          <a:p>
            <a:pPr>
              <a:lnSpc>
                <a:spcPct val="90000"/>
              </a:lnSpc>
              <a:buFont charset="0" panose="020B0604020202020204" pitchFamily="34" typeface="Arial"/>
              <a:buChar char="•"/>
            </a:pPr>
            <a:r>
              <a:rPr dirty="0" lang="en-US">
                <a:latin charset="0" panose="02040504050005020304" pitchFamily="18" typeface="Amasis MT Pro"/>
              </a:rPr>
              <a:t>Predictive maintenance enhances vehicle uptime.</a:t>
            </a:r>
          </a:p>
          <a:p>
            <a:pPr>
              <a:lnSpc>
                <a:spcPct val="90000"/>
              </a:lnSpc>
              <a:buFont charset="0" panose="020B0604020202020204" pitchFamily="34" typeface="Arial"/>
              <a:buChar char="•"/>
            </a:pPr>
            <a:r>
              <a:rPr dirty="0" lang="en-US">
                <a:latin charset="0" panose="02040504050005020304" pitchFamily="18" typeface="Amasis MT Pro"/>
              </a:rPr>
              <a:t>OTA updates and personalization improve the user experience.</a:t>
            </a:r>
          </a:p>
          <a:p>
            <a:pPr>
              <a:lnSpc>
                <a:spcPct val="90000"/>
              </a:lnSpc>
            </a:pPr>
            <a:endParaRPr dirty="0" lang="en-IN"/>
          </a:p>
        </p:txBody>
      </p:sp>
      <p:pic>
        <p:nvPicPr>
          <p:cNvPr descr="Mage media" id="3078" name="Picture 6">
            <a:extLst>
              <a:ext uri="{FF2B5EF4-FFF2-40B4-BE49-F238E27FC236}">
                <a16:creationId xmlns:a16="http://schemas.microsoft.com/office/drawing/2014/main" id="{AF5EC19D-7136-F85E-EB37-609982D51D91}"/>
              </a:ext>
            </a:extLst>
          </p:cNvPr>
          <p:cNvPicPr>
            <a:picLocks noChangeArrowheads="1" noChangeAspect="1"/>
          </p:cNvPicPr>
          <p:nvPr/>
        </p:nvPicPr>
        <p:blipFill>
          <a:blip r:embed="rId3">
            <a:extLst>
              <a:ext uri="{28A0092B-C50C-407E-A947-70E740481C1C}">
                <a14:useLocalDpi xmlns:a14="http://schemas.microsoft.com/office/drawing/2010/main" val="0"/>
              </a:ext>
            </a:extLst>
          </a:blip>
          <a:srcRect b="-1" r="-1" t="35"/>
          <a:stretch>
            <a:fillRect/>
          </a:stretch>
        </p:blipFill>
        <p:spPr bwMode="auto">
          <a:xfrm>
            <a:off x="20" y="10"/>
            <a:ext cx="6095980" cy="6857990"/>
          </a:xfrm>
          <a:prstGeom prst="rect">
            <a:avLst/>
          </a:prstGeom>
          <a:solidFill>
            <a:srgbClr val="FFFFFF"/>
          </a:solidFill>
        </p:spPr>
      </p:pic>
      <p:sp>
        <p:nvSpPr>
          <p:cNvPr id="5" name="Title 4">
            <a:extLst>
              <a:ext uri="{FF2B5EF4-FFF2-40B4-BE49-F238E27FC236}">
                <a16:creationId xmlns:a16="http://schemas.microsoft.com/office/drawing/2014/main" id="{068333FA-16C2-13DB-4E58-841B4BC9501A}"/>
              </a:ext>
            </a:extLst>
          </p:cNvPr>
          <p:cNvSpPr>
            <a:spLocks noGrp="1"/>
          </p:cNvSpPr>
          <p:nvPr>
            <p:ph type="title"/>
          </p:nvPr>
        </p:nvSpPr>
        <p:spPr>
          <a:xfrm>
            <a:off x="6359417" y="260350"/>
            <a:ext cx="5063967" cy="792163"/>
          </a:xfrm>
        </p:spPr>
        <p:txBody>
          <a:bodyPr anchor="b">
            <a:normAutofit/>
          </a:bodyPr>
          <a:lstStyle/>
          <a:p>
            <a:r>
              <a:rPr dirty="0" lang="en-US"/>
              <a:t>Benefits of Digital Twin in Automotive</a:t>
            </a:r>
            <a:endParaRPr dirty="0" lang="en-IN"/>
          </a:p>
        </p:txBody>
      </p:sp>
    </p:spTree>
    <p:extLst>
      <p:ext uri="{BB962C8B-B14F-4D97-AF65-F5344CB8AC3E}">
        <p14:creationId xmlns:p14="http://schemas.microsoft.com/office/powerpoint/2010/main" val="23759127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9B0590-2B1A-0B9D-E765-355360DCA21C}"/>
              </a:ext>
            </a:extLst>
          </p:cNvPr>
          <p:cNvSpPr>
            <a:spLocks noGrp="1"/>
          </p:cNvSpPr>
          <p:nvPr>
            <p:ph type="ctrTitle"/>
          </p:nvPr>
        </p:nvSpPr>
        <p:spPr>
          <a:xfrm>
            <a:off x="550862" y="4941168"/>
            <a:ext cx="11090276" cy="747897"/>
          </a:xfrm>
        </p:spPr>
        <p:txBody>
          <a:bodyPr/>
          <a:lstStyle/>
          <a:p>
            <a:r>
              <a:rPr lang="en-US" dirty="0"/>
              <a:t>8.Challenges of Implementing Digital Twin in Automotive</a:t>
            </a:r>
            <a:endParaRPr lang="en-IN" dirty="0"/>
          </a:p>
        </p:txBody>
      </p:sp>
    </p:spTree>
    <p:extLst>
      <p:ext uri="{BB962C8B-B14F-4D97-AF65-F5344CB8AC3E}">
        <p14:creationId xmlns:p14="http://schemas.microsoft.com/office/powerpoint/2010/main" val="2247614131"/>
      </p:ext>
    </p:extLst>
  </p:cSld>
  <p:clrMapOvr>
    <a:masterClrMapping/>
  </p:clrMapOvr>
</p:sld>
</file>

<file path=ppt/slides/slide36.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02D630-BD92-4C21-9201-2F5C0F014D06}"/>
              </a:ext>
            </a:extLst>
          </p:cNvPr>
          <p:cNvSpPr>
            <a:spLocks noGrp="1"/>
          </p:cNvSpPr>
          <p:nvPr>
            <p:ph idx="17" sz="quarter" type="body"/>
          </p:nvPr>
        </p:nvSpPr>
        <p:spPr>
          <a:xfrm>
            <a:off x="6600056" y="1268760"/>
            <a:ext cx="5063967" cy="4825988"/>
          </a:xfrm>
        </p:spPr>
        <p:txBody>
          <a:bodyPr>
            <a:normAutofit/>
          </a:bodyPr>
          <a:lstStyle/>
          <a:p>
            <a:pPr>
              <a:lnSpc>
                <a:spcPct val="90000"/>
              </a:lnSpc>
              <a:buNone/>
            </a:pPr>
            <a:r>
              <a:rPr b="1" dirty="0" lang="en-US"/>
              <a:t>⚠️ </a:t>
            </a:r>
            <a:r>
              <a:rPr b="1" dirty="0" lang="en-US">
                <a:latin typeface="+mj-lt"/>
              </a:rPr>
              <a:t>High Complexity in Integration</a:t>
            </a:r>
            <a:endParaRPr dirty="0" lang="en-US">
              <a:latin typeface="+mj-lt"/>
            </a:endParaRPr>
          </a:p>
          <a:p>
            <a:pPr>
              <a:lnSpc>
                <a:spcPct val="90000"/>
              </a:lnSpc>
              <a:buFont charset="0" panose="020B0604020202020204" pitchFamily="34" typeface="Arial"/>
              <a:buChar char="•"/>
            </a:pPr>
            <a:r>
              <a:rPr dirty="0" lang="en-US">
                <a:latin typeface="+mj-lt"/>
              </a:rPr>
              <a:t>Requires seamless coordination between hardware, software, and data systems.</a:t>
            </a:r>
          </a:p>
          <a:p>
            <a:pPr>
              <a:lnSpc>
                <a:spcPct val="90000"/>
              </a:lnSpc>
              <a:buFont charset="0" panose="020B0604020202020204" pitchFamily="34" typeface="Arial"/>
              <a:buChar char="•"/>
            </a:pPr>
            <a:r>
              <a:rPr dirty="0" lang="en-US">
                <a:latin typeface="+mj-lt"/>
              </a:rPr>
              <a:t>Integration across the vehicle lifecycle can be technically demanding.</a:t>
            </a:r>
          </a:p>
          <a:p>
            <a:pPr>
              <a:lnSpc>
                <a:spcPct val="90000"/>
              </a:lnSpc>
            </a:pPr>
            <a:endParaRPr dirty="0" lang="en-US">
              <a:latin typeface="+mj-lt"/>
            </a:endParaRPr>
          </a:p>
          <a:p>
            <a:pPr>
              <a:lnSpc>
                <a:spcPct val="90000"/>
              </a:lnSpc>
              <a:buNone/>
            </a:pPr>
            <a:r>
              <a:rPr b="1" dirty="0" lang="en-US">
                <a:latin typeface="+mj-lt"/>
              </a:rPr>
              <a:t>⚠️ Data Privacy &amp; Cybersecurity Risks</a:t>
            </a:r>
            <a:endParaRPr dirty="0" lang="en-US">
              <a:latin typeface="+mj-lt"/>
            </a:endParaRPr>
          </a:p>
          <a:p>
            <a:pPr>
              <a:lnSpc>
                <a:spcPct val="90000"/>
              </a:lnSpc>
              <a:buFont charset="0" panose="020B0604020202020204" pitchFamily="34" typeface="Arial"/>
              <a:buChar char="•"/>
            </a:pPr>
            <a:r>
              <a:rPr dirty="0" lang="en-US">
                <a:latin typeface="+mj-lt"/>
              </a:rPr>
              <a:t>Real-time data exchange increases exposure to cyber threats.</a:t>
            </a:r>
          </a:p>
          <a:p>
            <a:pPr>
              <a:lnSpc>
                <a:spcPct val="90000"/>
              </a:lnSpc>
              <a:buFont charset="0" panose="020B0604020202020204" pitchFamily="34" typeface="Arial"/>
              <a:buChar char="•"/>
            </a:pPr>
            <a:r>
              <a:rPr dirty="0" lang="en-US">
                <a:latin typeface="+mj-lt"/>
              </a:rPr>
              <a:t>Protecting vehicle and user data is a critical concern.</a:t>
            </a:r>
          </a:p>
          <a:p>
            <a:pPr>
              <a:lnSpc>
                <a:spcPct val="90000"/>
              </a:lnSpc>
            </a:pPr>
            <a:endParaRPr dirty="0" lang="en-US">
              <a:latin typeface="+mj-lt"/>
            </a:endParaRPr>
          </a:p>
          <a:p>
            <a:pPr>
              <a:lnSpc>
                <a:spcPct val="90000"/>
              </a:lnSpc>
              <a:buNone/>
            </a:pPr>
            <a:r>
              <a:rPr b="1" dirty="0" lang="en-US">
                <a:latin typeface="+mj-lt"/>
              </a:rPr>
              <a:t>⚠️ Large Upfront Investment</a:t>
            </a:r>
            <a:endParaRPr dirty="0" lang="en-US">
              <a:latin typeface="+mj-lt"/>
            </a:endParaRPr>
          </a:p>
          <a:p>
            <a:pPr>
              <a:lnSpc>
                <a:spcPct val="90000"/>
              </a:lnSpc>
              <a:buFont charset="0" panose="020B0604020202020204" pitchFamily="34" typeface="Arial"/>
              <a:buChar char="•"/>
            </a:pPr>
            <a:r>
              <a:rPr dirty="0" lang="en-US">
                <a:latin typeface="+mj-lt"/>
              </a:rPr>
              <a:t>High costs for digital infrastructure, simulation tools, and cloud platforms.</a:t>
            </a:r>
          </a:p>
          <a:p>
            <a:pPr>
              <a:lnSpc>
                <a:spcPct val="90000"/>
              </a:lnSpc>
              <a:buFont charset="0" panose="020B0604020202020204" pitchFamily="34" typeface="Arial"/>
              <a:buChar char="•"/>
            </a:pPr>
            <a:r>
              <a:rPr dirty="0" lang="en-US">
                <a:latin typeface="+mj-lt"/>
              </a:rPr>
              <a:t>ROI may take time, especially for smaller manufacturers.</a:t>
            </a:r>
          </a:p>
          <a:p>
            <a:pPr>
              <a:lnSpc>
                <a:spcPct val="90000"/>
              </a:lnSpc>
            </a:pPr>
            <a:endParaRPr dirty="0" lang="en-US">
              <a:latin typeface="+mj-lt"/>
            </a:endParaRPr>
          </a:p>
          <a:p>
            <a:pPr>
              <a:lnSpc>
                <a:spcPct val="90000"/>
              </a:lnSpc>
              <a:buNone/>
            </a:pPr>
            <a:r>
              <a:rPr b="1" dirty="0" lang="en-US">
                <a:latin typeface="+mj-lt"/>
              </a:rPr>
              <a:t>⚠️ Skilled Workforce Requirement</a:t>
            </a:r>
            <a:endParaRPr dirty="0" lang="en-US">
              <a:latin typeface="+mj-lt"/>
            </a:endParaRPr>
          </a:p>
          <a:p>
            <a:pPr>
              <a:lnSpc>
                <a:spcPct val="90000"/>
              </a:lnSpc>
              <a:buFont charset="0" panose="020B0604020202020204" pitchFamily="34" typeface="Arial"/>
              <a:buChar char="•"/>
            </a:pPr>
            <a:r>
              <a:rPr dirty="0" lang="en-US">
                <a:latin typeface="+mj-lt"/>
              </a:rPr>
              <a:t>Need for experts in AI, simulation, data science, and systems engineering.</a:t>
            </a:r>
          </a:p>
          <a:p>
            <a:pPr>
              <a:lnSpc>
                <a:spcPct val="90000"/>
              </a:lnSpc>
              <a:buFont charset="0" panose="020B0604020202020204" pitchFamily="34" typeface="Arial"/>
              <a:buChar char="•"/>
            </a:pPr>
            <a:r>
              <a:rPr dirty="0" lang="en-US">
                <a:latin typeface="+mj-lt"/>
              </a:rPr>
              <a:t>Upskilling and hiring are necessary for successful deployment.</a:t>
            </a:r>
          </a:p>
          <a:p>
            <a:pPr>
              <a:lnSpc>
                <a:spcPct val="90000"/>
              </a:lnSpc>
            </a:pPr>
            <a:endParaRPr dirty="0" lang="en-IN"/>
          </a:p>
        </p:txBody>
      </p:sp>
      <p:pic>
        <p:nvPicPr>
          <p:cNvPr descr="Mage media" id="4098" name="Picture 2">
            <a:extLst>
              <a:ext uri="{FF2B5EF4-FFF2-40B4-BE49-F238E27FC236}">
                <a16:creationId xmlns:a16="http://schemas.microsoft.com/office/drawing/2014/main" id="{81EE71B9-39D2-D27F-CD5E-6D8BC349E34D}"/>
              </a:ext>
            </a:extLst>
          </p:cNvPr>
          <p:cNvPicPr>
            <a:picLocks noChangeArrowheads="1" noChangeAspect="1"/>
          </p:cNvPicPr>
          <p:nvPr/>
        </p:nvPicPr>
        <p:blipFill>
          <a:blip r:embed="rId3">
            <a:extLst>
              <a:ext uri="{28A0092B-C50C-407E-A947-70E740481C1C}">
                <a14:useLocalDpi xmlns:a14="http://schemas.microsoft.com/office/drawing/2010/main" val="0"/>
              </a:ext>
            </a:extLst>
          </a:blip>
          <a:srcRect b="30" r="-1" t="4"/>
          <a:stretch>
            <a:fillRect/>
          </a:stretch>
        </p:blipFill>
        <p:spPr bwMode="auto">
          <a:xfrm>
            <a:off x="20" y="10"/>
            <a:ext cx="6095980" cy="6857990"/>
          </a:xfrm>
          <a:prstGeom prst="rect">
            <a:avLst/>
          </a:prstGeom>
          <a:solidFill>
            <a:srgbClr val="FFFFFF"/>
          </a:solidFill>
        </p:spPr>
      </p:pic>
      <p:sp>
        <p:nvSpPr>
          <p:cNvPr id="5" name="Title 4">
            <a:extLst>
              <a:ext uri="{FF2B5EF4-FFF2-40B4-BE49-F238E27FC236}">
                <a16:creationId xmlns:a16="http://schemas.microsoft.com/office/drawing/2014/main" id="{298CC299-4E88-EEA4-BA9F-EA6F09F18208}"/>
              </a:ext>
            </a:extLst>
          </p:cNvPr>
          <p:cNvSpPr>
            <a:spLocks noGrp="1"/>
          </p:cNvSpPr>
          <p:nvPr>
            <p:ph type="title"/>
          </p:nvPr>
        </p:nvSpPr>
        <p:spPr>
          <a:xfrm>
            <a:off x="6359417" y="260350"/>
            <a:ext cx="5063967" cy="792163"/>
          </a:xfrm>
        </p:spPr>
        <p:txBody>
          <a:bodyPr anchor="b">
            <a:normAutofit/>
          </a:bodyPr>
          <a:lstStyle/>
          <a:p>
            <a:r>
              <a:rPr dirty="0" lang="en-US"/>
              <a:t>Challenges of Implementing Digital Twin in Automotive</a:t>
            </a:r>
            <a:endParaRPr dirty="0" lang="en-IN"/>
          </a:p>
        </p:txBody>
      </p:sp>
    </p:spTree>
    <p:extLst>
      <p:ext uri="{BB962C8B-B14F-4D97-AF65-F5344CB8AC3E}">
        <p14:creationId xmlns:p14="http://schemas.microsoft.com/office/powerpoint/2010/main" val="29946838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F4AFBE-D9D3-1FC7-C46F-7D688B7A8038}"/>
              </a:ext>
            </a:extLst>
          </p:cNvPr>
          <p:cNvSpPr>
            <a:spLocks noGrp="1"/>
          </p:cNvSpPr>
          <p:nvPr>
            <p:ph type="ctrTitle"/>
          </p:nvPr>
        </p:nvSpPr>
        <p:spPr/>
        <p:txBody>
          <a:bodyPr/>
          <a:lstStyle/>
          <a:p>
            <a:r>
              <a:rPr lang="en-US" dirty="0"/>
              <a:t>9.Future Outlook of Digital Twin in Automotive</a:t>
            </a:r>
            <a:endParaRPr lang="en-IN" dirty="0"/>
          </a:p>
        </p:txBody>
      </p:sp>
    </p:spTree>
    <p:extLst>
      <p:ext uri="{BB962C8B-B14F-4D97-AF65-F5344CB8AC3E}">
        <p14:creationId xmlns:p14="http://schemas.microsoft.com/office/powerpoint/2010/main" val="1433339314"/>
      </p:ext>
    </p:extLst>
  </p:cSld>
  <p:clrMapOvr>
    <a:masterClrMapping/>
  </p:clrMapOvr>
</p:sld>
</file>

<file path=ppt/slides/slide38.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47E48B-16BA-6A11-1ED1-25211E2D7D3D}"/>
              </a:ext>
            </a:extLst>
          </p:cNvPr>
          <p:cNvSpPr>
            <a:spLocks noGrp="1"/>
          </p:cNvSpPr>
          <p:nvPr>
            <p:ph idx="17" sz="quarter" type="body"/>
          </p:nvPr>
        </p:nvSpPr>
        <p:spPr>
          <a:xfrm>
            <a:off x="6384032" y="1627200"/>
            <a:ext cx="5063967" cy="4825988"/>
          </a:xfrm>
        </p:spPr>
        <p:txBody>
          <a:bodyPr>
            <a:normAutofit/>
          </a:bodyPr>
          <a:lstStyle/>
          <a:p>
            <a:pPr>
              <a:buNone/>
            </a:pPr>
            <a:r>
              <a:rPr b="1" dirty="0" lang="en-US">
                <a:latin charset="0" panose="02040504050005020304" pitchFamily="18" typeface="Amasis MT Pro"/>
              </a:rPr>
              <a:t>🔮 Foundation for the Future of Mobility</a:t>
            </a:r>
            <a:endParaRPr dirty="0" lang="en-US">
              <a:latin charset="0" panose="02040504050005020304" pitchFamily="18" typeface="Amasis MT Pro"/>
            </a:endParaRPr>
          </a:p>
          <a:p>
            <a:pPr>
              <a:buFont charset="0" panose="020B0604020202020204" pitchFamily="34" typeface="Arial"/>
              <a:buChar char="•"/>
            </a:pPr>
            <a:r>
              <a:rPr dirty="0" lang="en-US">
                <a:latin charset="0" panose="02040504050005020304" pitchFamily="18" typeface="Amasis MT Pro"/>
              </a:rPr>
              <a:t>Digital twins will be central to the evolution of </a:t>
            </a:r>
            <a:r>
              <a:rPr b="1" dirty="0" lang="en-US">
                <a:latin charset="0" panose="02040504050005020304" pitchFamily="18" typeface="Amasis MT Pro"/>
              </a:rPr>
              <a:t>Autonomous, Connected, and Electric Vehicles (ACEV)</a:t>
            </a:r>
            <a:r>
              <a:rPr dirty="0" lang="en-US">
                <a:latin charset="0" panose="02040504050005020304" pitchFamily="18" typeface="Amasis MT Pro"/>
              </a:rPr>
              <a:t>.</a:t>
            </a:r>
          </a:p>
          <a:p>
            <a:endParaRPr dirty="0" lang="en-US">
              <a:latin charset="0" panose="02040504050005020304" pitchFamily="18" typeface="Amasis MT Pro"/>
            </a:endParaRPr>
          </a:p>
          <a:p>
            <a:pPr>
              <a:buNone/>
            </a:pPr>
            <a:r>
              <a:rPr b="1" dirty="0" lang="en-US">
                <a:latin charset="0" panose="02040504050005020304" pitchFamily="18" typeface="Amasis MT Pro"/>
              </a:rPr>
              <a:t>🤖 Integration with AI &amp; Edge Computing</a:t>
            </a:r>
            <a:endParaRPr dirty="0" lang="en-US">
              <a:latin charset="0" panose="02040504050005020304" pitchFamily="18" typeface="Amasis MT Pro"/>
            </a:endParaRPr>
          </a:p>
          <a:p>
            <a:pPr>
              <a:buFont charset="0" panose="020B0604020202020204" pitchFamily="34" typeface="Arial"/>
              <a:buChar char="•"/>
            </a:pPr>
            <a:r>
              <a:rPr dirty="0" lang="en-US">
                <a:latin charset="0" panose="02040504050005020304" pitchFamily="18" typeface="Amasis MT Pro"/>
              </a:rPr>
              <a:t>Real-time analytics powered by </a:t>
            </a:r>
            <a:r>
              <a:rPr b="1" dirty="0" lang="en-US">
                <a:latin charset="0" panose="02040504050005020304" pitchFamily="18" typeface="Amasis MT Pro"/>
              </a:rPr>
              <a:t>AI and edge computing</a:t>
            </a:r>
            <a:r>
              <a:rPr dirty="0" lang="en-US">
                <a:latin charset="0" panose="02040504050005020304" pitchFamily="18" typeface="Amasis MT Pro"/>
              </a:rPr>
              <a:t> will make vehicles smarter and more responsive.</a:t>
            </a:r>
          </a:p>
          <a:p>
            <a:pPr>
              <a:buFont charset="0" panose="020B0604020202020204" pitchFamily="34" typeface="Arial"/>
              <a:buChar char="•"/>
            </a:pPr>
            <a:r>
              <a:rPr dirty="0" lang="en-US">
                <a:latin charset="0" panose="02040504050005020304" pitchFamily="18" typeface="Amasis MT Pro"/>
              </a:rPr>
              <a:t>Enables </a:t>
            </a:r>
            <a:r>
              <a:rPr b="1" dirty="0" lang="en-US">
                <a:latin charset="0" panose="02040504050005020304" pitchFamily="18" typeface="Amasis MT Pro"/>
              </a:rPr>
              <a:t>instant decision-making</a:t>
            </a:r>
            <a:r>
              <a:rPr dirty="0" lang="en-US">
                <a:latin charset="0" panose="02040504050005020304" pitchFamily="18" typeface="Amasis MT Pro"/>
              </a:rPr>
              <a:t> in autonomous driving and predictive maintenance.</a:t>
            </a:r>
          </a:p>
          <a:p>
            <a:endParaRPr dirty="0" lang="en-US">
              <a:latin charset="0" panose="02040504050005020304" pitchFamily="18" typeface="Amasis MT Pro"/>
            </a:endParaRPr>
          </a:p>
          <a:p>
            <a:pPr>
              <a:buNone/>
            </a:pPr>
            <a:r>
              <a:rPr b="1" dirty="0" lang="en-US">
                <a:latin charset="0" panose="02040504050005020304" pitchFamily="18" typeface="Amasis MT Pro"/>
              </a:rPr>
              <a:t>🌐 Smarter, Safer, and Efficient Transportation</a:t>
            </a:r>
            <a:endParaRPr dirty="0" lang="en-US">
              <a:latin charset="0" panose="02040504050005020304" pitchFamily="18" typeface="Amasis MT Pro"/>
            </a:endParaRPr>
          </a:p>
          <a:p>
            <a:pPr>
              <a:buFont charset="0" panose="020B0604020202020204" pitchFamily="34" typeface="Arial"/>
              <a:buChar char="•"/>
            </a:pPr>
            <a:r>
              <a:rPr dirty="0" lang="en-US">
                <a:latin charset="0" panose="02040504050005020304" pitchFamily="18" typeface="Amasis MT Pro"/>
              </a:rPr>
              <a:t>Enhanced simulation, testing, and monitoring will improve </a:t>
            </a:r>
            <a:r>
              <a:rPr b="1" dirty="0" lang="en-US">
                <a:latin charset="0" panose="02040504050005020304" pitchFamily="18" typeface="Amasis MT Pro"/>
              </a:rPr>
              <a:t>safety, sustainability</a:t>
            </a:r>
            <a:r>
              <a:rPr dirty="0" lang="en-US">
                <a:latin charset="0" panose="02040504050005020304" pitchFamily="18" typeface="Amasis MT Pro"/>
              </a:rPr>
              <a:t>, and </a:t>
            </a:r>
            <a:r>
              <a:rPr b="1" dirty="0" lang="en-US">
                <a:latin charset="0" panose="02040504050005020304" pitchFamily="18" typeface="Amasis MT Pro"/>
              </a:rPr>
              <a:t>customer personalization</a:t>
            </a:r>
            <a:r>
              <a:rPr dirty="0" lang="en-US">
                <a:latin charset="0" panose="02040504050005020304" pitchFamily="18" typeface="Amasis MT Pro"/>
              </a:rPr>
              <a:t>.</a:t>
            </a:r>
          </a:p>
          <a:p>
            <a:pPr>
              <a:buFont charset="0" panose="020B0604020202020204" pitchFamily="34" typeface="Arial"/>
              <a:buChar char="•"/>
            </a:pPr>
            <a:r>
              <a:rPr dirty="0" lang="en-US">
                <a:latin charset="0" panose="02040504050005020304" pitchFamily="18" typeface="Amasis MT Pro"/>
              </a:rPr>
              <a:t>Supports </a:t>
            </a:r>
            <a:r>
              <a:rPr b="1" dirty="0" lang="en-US">
                <a:latin charset="0" panose="02040504050005020304" pitchFamily="18" typeface="Amasis MT Pro"/>
              </a:rPr>
              <a:t>continuous learning</a:t>
            </a:r>
            <a:r>
              <a:rPr dirty="0" lang="en-US">
                <a:latin charset="0" panose="02040504050005020304" pitchFamily="18" typeface="Amasis MT Pro"/>
              </a:rPr>
              <a:t> and over-the-air improvements throughout the vehicle lifecycle.</a:t>
            </a:r>
          </a:p>
          <a:p>
            <a:endParaRPr dirty="0" lang="en-IN"/>
          </a:p>
        </p:txBody>
      </p:sp>
      <p:pic>
        <p:nvPicPr>
          <p:cNvPr descr="Mage media" id="5122" name="Picture 2">
            <a:extLst>
              <a:ext uri="{FF2B5EF4-FFF2-40B4-BE49-F238E27FC236}">
                <a16:creationId xmlns:a16="http://schemas.microsoft.com/office/drawing/2014/main" id="{AEFAF30C-C3F7-04A2-13A1-CC345BEACE15}"/>
              </a:ext>
            </a:extLst>
          </p:cNvPr>
          <p:cNvPicPr>
            <a:picLocks noChangeArrowheads="1" noChangeAspect="1"/>
          </p:cNvPicPr>
          <p:nvPr/>
        </p:nvPicPr>
        <p:blipFill>
          <a:blip r:embed="rId3">
            <a:extLst>
              <a:ext uri="{28A0092B-C50C-407E-A947-70E740481C1C}">
                <a14:useLocalDpi xmlns:a14="http://schemas.microsoft.com/office/drawing/2010/main" val="0"/>
              </a:ext>
            </a:extLst>
          </a:blip>
          <a:srcRect b="88" r="-1" t="47"/>
          <a:stretch>
            <a:fillRect/>
          </a:stretch>
        </p:blipFill>
        <p:spPr bwMode="auto">
          <a:xfrm>
            <a:off x="20" y="10"/>
            <a:ext cx="6095980" cy="6857990"/>
          </a:xfrm>
          <a:prstGeom prst="rect">
            <a:avLst/>
          </a:prstGeom>
          <a:solidFill>
            <a:srgbClr val="FFFFFF"/>
          </a:solidFill>
        </p:spPr>
      </p:pic>
      <p:sp>
        <p:nvSpPr>
          <p:cNvPr id="5" name="Title 4">
            <a:extLst>
              <a:ext uri="{FF2B5EF4-FFF2-40B4-BE49-F238E27FC236}">
                <a16:creationId xmlns:a16="http://schemas.microsoft.com/office/drawing/2014/main" id="{46F234A1-A775-670D-AED2-CF6EDF55472B}"/>
              </a:ext>
            </a:extLst>
          </p:cNvPr>
          <p:cNvSpPr>
            <a:spLocks noGrp="1"/>
          </p:cNvSpPr>
          <p:nvPr>
            <p:ph type="title"/>
          </p:nvPr>
        </p:nvSpPr>
        <p:spPr>
          <a:xfrm>
            <a:off x="6359417" y="260350"/>
            <a:ext cx="5063967" cy="792163"/>
          </a:xfrm>
        </p:spPr>
        <p:txBody>
          <a:bodyPr anchor="b">
            <a:normAutofit/>
          </a:bodyPr>
          <a:lstStyle/>
          <a:p>
            <a:r>
              <a:rPr dirty="0" lang="en-US"/>
              <a:t>Future Outlook of Digital Twin in Automotive</a:t>
            </a:r>
            <a:endParaRPr dirty="0" lang="en-IN"/>
          </a:p>
        </p:txBody>
      </p:sp>
    </p:spTree>
    <p:extLst>
      <p:ext uri="{BB962C8B-B14F-4D97-AF65-F5344CB8AC3E}">
        <p14:creationId xmlns:p14="http://schemas.microsoft.com/office/powerpoint/2010/main" val="36484174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1EE8D8-A895-6A82-4515-F93BFB51B0E2}"/>
              </a:ext>
            </a:extLst>
          </p:cNvPr>
          <p:cNvSpPr>
            <a:spLocks noGrp="1"/>
          </p:cNvSpPr>
          <p:nvPr>
            <p:ph type="ctrTitle"/>
          </p:nvPr>
        </p:nvSpPr>
        <p:spPr/>
        <p:txBody>
          <a:bodyPr/>
          <a:lstStyle/>
          <a:p>
            <a:r>
              <a:rPr lang="en-IN" dirty="0"/>
              <a:t>10.Conclusion and Summary</a:t>
            </a:r>
          </a:p>
        </p:txBody>
      </p:sp>
    </p:spTree>
    <p:extLst>
      <p:ext uri="{BB962C8B-B14F-4D97-AF65-F5344CB8AC3E}">
        <p14:creationId xmlns:p14="http://schemas.microsoft.com/office/powerpoint/2010/main" val="1743754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49C9C37-9D10-0E10-2219-4C09820CDB16}"/>
              </a:ext>
            </a:extLst>
          </p:cNvPr>
          <p:cNvSpPr txBox="1"/>
          <p:nvPr/>
        </p:nvSpPr>
        <p:spPr>
          <a:xfrm>
            <a:off x="5879976" y="1340768"/>
            <a:ext cx="6148736" cy="4735081"/>
          </a:xfrm>
          <a:prstGeom prst="rect">
            <a:avLst/>
          </a:prstGeom>
        </p:spPr>
        <p:txBody>
          <a:bodyPr vert="horz" lIns="0" tIns="0" rIns="0" bIns="0" rtlCol="0">
            <a:noAutofit/>
          </a:bodyPr>
          <a:lstStyle/>
          <a:p>
            <a:pPr>
              <a:lnSpc>
                <a:spcPct val="90000"/>
              </a:lnSpc>
              <a:spcBef>
                <a:spcPts val="600"/>
              </a:spcBef>
            </a:pPr>
            <a:r>
              <a:rPr lang="en-US" sz="1400" dirty="0">
                <a:latin typeface="Amasis MT Pro" panose="02040504050005020304" pitchFamily="18" charset="0"/>
              </a:rPr>
              <a:t>The studied object—</a:t>
            </a:r>
            <a:r>
              <a:rPr lang="en-US" sz="1400" b="1" dirty="0">
                <a:latin typeface="Amasis MT Pro" panose="02040504050005020304" pitchFamily="18" charset="0"/>
              </a:rPr>
              <a:t>for example, an electric vehicle (EV) powertrain</a:t>
            </a:r>
            <a:r>
              <a:rPr lang="en-US" sz="1400" dirty="0">
                <a:latin typeface="Amasis MT Pro" panose="02040504050005020304" pitchFamily="18" charset="0"/>
              </a:rPr>
              <a:t>—is outfitted with various </a:t>
            </a:r>
            <a:r>
              <a:rPr lang="en-US" sz="1400" b="1" dirty="0">
                <a:latin typeface="Amasis MT Pro" panose="02040504050005020304" pitchFamily="18" charset="0"/>
              </a:rPr>
              <a:t>sensors</a:t>
            </a:r>
            <a:r>
              <a:rPr lang="en-US" sz="1400" dirty="0">
                <a:latin typeface="Amasis MT Pro" panose="02040504050005020304" pitchFamily="18" charset="0"/>
              </a:rPr>
              <a:t> at key functional areas. These sensors produce data about critical performance aspects, such as:</a:t>
            </a:r>
          </a:p>
          <a:p>
            <a:pPr>
              <a:lnSpc>
                <a:spcPct val="90000"/>
              </a:lnSpc>
              <a:spcBef>
                <a:spcPts val="600"/>
              </a:spcBef>
            </a:pPr>
            <a:r>
              <a:rPr lang="en-US" sz="1400" b="1" dirty="0">
                <a:latin typeface="Amasis MT Pro" panose="02040504050005020304" pitchFamily="18" charset="0"/>
              </a:rPr>
              <a:t>Battery temperature and charge/discharge rates</a:t>
            </a:r>
            <a:endParaRPr lang="en-US" sz="1400" dirty="0">
              <a:latin typeface="Amasis MT Pro" panose="02040504050005020304" pitchFamily="18" charset="0"/>
            </a:endParaRPr>
          </a:p>
          <a:p>
            <a:pPr>
              <a:lnSpc>
                <a:spcPct val="90000"/>
              </a:lnSpc>
              <a:spcBef>
                <a:spcPts val="600"/>
              </a:spcBef>
            </a:pPr>
            <a:r>
              <a:rPr lang="en-US" sz="1400" b="1" dirty="0">
                <a:latin typeface="Amasis MT Pro" panose="02040504050005020304" pitchFamily="18" charset="0"/>
              </a:rPr>
              <a:t>Motor torque and RPM</a:t>
            </a:r>
            <a:endParaRPr lang="en-US" sz="1400" dirty="0">
              <a:latin typeface="Amasis MT Pro" panose="02040504050005020304" pitchFamily="18" charset="0"/>
            </a:endParaRPr>
          </a:p>
          <a:p>
            <a:pPr>
              <a:lnSpc>
                <a:spcPct val="90000"/>
              </a:lnSpc>
              <a:spcBef>
                <a:spcPts val="600"/>
              </a:spcBef>
            </a:pPr>
            <a:r>
              <a:rPr lang="en-US" sz="1400" b="1" dirty="0">
                <a:latin typeface="Amasis MT Pro" panose="02040504050005020304" pitchFamily="18" charset="0"/>
              </a:rPr>
              <a:t>Energy consumption</a:t>
            </a:r>
            <a:endParaRPr lang="en-US" sz="1400" dirty="0">
              <a:latin typeface="Amasis MT Pro" panose="02040504050005020304" pitchFamily="18" charset="0"/>
            </a:endParaRPr>
          </a:p>
          <a:p>
            <a:pPr>
              <a:lnSpc>
                <a:spcPct val="90000"/>
              </a:lnSpc>
              <a:spcBef>
                <a:spcPts val="600"/>
              </a:spcBef>
            </a:pPr>
            <a:r>
              <a:rPr lang="en-US" sz="1400" b="1" dirty="0">
                <a:latin typeface="Amasis MT Pro" panose="02040504050005020304" pitchFamily="18" charset="0"/>
              </a:rPr>
              <a:t>Driving behavior</a:t>
            </a:r>
            <a:r>
              <a:rPr lang="en-US" sz="1400" dirty="0">
                <a:latin typeface="Amasis MT Pro" panose="02040504050005020304" pitchFamily="18" charset="0"/>
              </a:rPr>
              <a:t> and </a:t>
            </a:r>
            <a:r>
              <a:rPr lang="en-US" sz="1400" b="1" dirty="0">
                <a:latin typeface="Amasis MT Pro" panose="02040504050005020304" pitchFamily="18" charset="0"/>
              </a:rPr>
              <a:t>ambient conditions</a:t>
            </a:r>
          </a:p>
          <a:p>
            <a:pPr>
              <a:lnSpc>
                <a:spcPct val="90000"/>
              </a:lnSpc>
              <a:spcBef>
                <a:spcPts val="600"/>
              </a:spcBef>
            </a:pPr>
            <a:endParaRPr lang="en-US" sz="1400" dirty="0">
              <a:latin typeface="Amasis MT Pro" panose="02040504050005020304" pitchFamily="18" charset="0"/>
            </a:endParaRPr>
          </a:p>
          <a:p>
            <a:pPr>
              <a:lnSpc>
                <a:spcPct val="90000"/>
              </a:lnSpc>
              <a:spcBef>
                <a:spcPts val="600"/>
              </a:spcBef>
            </a:pPr>
            <a:r>
              <a:rPr lang="en-US" sz="1400" dirty="0">
                <a:latin typeface="Amasis MT Pro" panose="02040504050005020304" pitchFamily="18" charset="0"/>
              </a:rPr>
              <a:t>This real-time data is transmitted to a </a:t>
            </a:r>
            <a:r>
              <a:rPr lang="en-US" sz="1400" b="1" dirty="0">
                <a:latin typeface="Amasis MT Pro" panose="02040504050005020304" pitchFamily="18" charset="0"/>
              </a:rPr>
              <a:t>processing system</a:t>
            </a:r>
            <a:r>
              <a:rPr lang="en-US" sz="1400" dirty="0">
                <a:latin typeface="Amasis MT Pro" panose="02040504050005020304" pitchFamily="18" charset="0"/>
              </a:rPr>
              <a:t>, where it is applied to the </a:t>
            </a:r>
            <a:r>
              <a:rPr lang="en-US" sz="1400" b="1" dirty="0">
                <a:latin typeface="Amasis MT Pro" panose="02040504050005020304" pitchFamily="18" charset="0"/>
              </a:rPr>
              <a:t>digital replica</a:t>
            </a:r>
            <a:r>
              <a:rPr lang="en-US" sz="1400" dirty="0">
                <a:latin typeface="Amasis MT Pro" panose="02040504050005020304" pitchFamily="18" charset="0"/>
              </a:rPr>
              <a:t> of the powertrain.</a:t>
            </a:r>
          </a:p>
          <a:p>
            <a:pPr>
              <a:lnSpc>
                <a:spcPct val="90000"/>
              </a:lnSpc>
              <a:spcBef>
                <a:spcPts val="600"/>
              </a:spcBef>
            </a:pPr>
            <a:r>
              <a:rPr lang="en-US" sz="1400" dirty="0">
                <a:latin typeface="Amasis MT Pro" panose="02040504050005020304" pitchFamily="18" charset="0"/>
              </a:rPr>
              <a:t>Once updated with the relevant data, the </a:t>
            </a:r>
            <a:r>
              <a:rPr lang="en-US" sz="1400" b="1" dirty="0">
                <a:latin typeface="Amasis MT Pro" panose="02040504050005020304" pitchFamily="18" charset="0"/>
              </a:rPr>
              <a:t>digital twin</a:t>
            </a:r>
            <a:r>
              <a:rPr lang="en-US" sz="1400" dirty="0">
                <a:latin typeface="Amasis MT Pro" panose="02040504050005020304" pitchFamily="18" charset="0"/>
              </a:rPr>
              <a:t> can be used to:</a:t>
            </a:r>
          </a:p>
          <a:p>
            <a:pPr>
              <a:lnSpc>
                <a:spcPct val="90000"/>
              </a:lnSpc>
              <a:spcBef>
                <a:spcPts val="600"/>
              </a:spcBef>
            </a:pPr>
            <a:r>
              <a:rPr lang="en-US" sz="1400" dirty="0">
                <a:latin typeface="Amasis MT Pro" panose="02040504050005020304" pitchFamily="18" charset="0"/>
              </a:rPr>
              <a:t>Run </a:t>
            </a:r>
            <a:r>
              <a:rPr lang="en-US" sz="1400" b="1" dirty="0">
                <a:latin typeface="Amasis MT Pro" panose="02040504050005020304" pitchFamily="18" charset="0"/>
              </a:rPr>
              <a:t>simulations</a:t>
            </a:r>
            <a:r>
              <a:rPr lang="en-US" sz="1400" dirty="0">
                <a:latin typeface="Amasis MT Pro" panose="02040504050005020304" pitchFamily="18" charset="0"/>
              </a:rPr>
              <a:t> under various load or environmental conditions</a:t>
            </a:r>
          </a:p>
          <a:p>
            <a:pPr>
              <a:lnSpc>
                <a:spcPct val="90000"/>
              </a:lnSpc>
              <a:spcBef>
                <a:spcPts val="600"/>
              </a:spcBef>
            </a:pPr>
            <a:r>
              <a:rPr lang="en-US" sz="1400" b="1" dirty="0">
                <a:latin typeface="Amasis MT Pro" panose="02040504050005020304" pitchFamily="18" charset="0"/>
              </a:rPr>
              <a:t>Analyze anomalies</a:t>
            </a:r>
            <a:r>
              <a:rPr lang="en-US" sz="1400" dirty="0">
                <a:latin typeface="Amasis MT Pro" panose="02040504050005020304" pitchFamily="18" charset="0"/>
              </a:rPr>
              <a:t> such as unexpected battery drain or overheating</a:t>
            </a:r>
          </a:p>
          <a:p>
            <a:pPr>
              <a:lnSpc>
                <a:spcPct val="90000"/>
              </a:lnSpc>
              <a:spcBef>
                <a:spcPts val="600"/>
              </a:spcBef>
            </a:pPr>
            <a:r>
              <a:rPr lang="en-US" sz="1400" dirty="0">
                <a:latin typeface="Amasis MT Pro" panose="02040504050005020304" pitchFamily="18" charset="0"/>
              </a:rPr>
              <a:t>Test and validate </a:t>
            </a:r>
            <a:r>
              <a:rPr lang="en-US" sz="1400" b="1" dirty="0">
                <a:latin typeface="Amasis MT Pro" panose="02040504050005020304" pitchFamily="18" charset="0"/>
              </a:rPr>
              <a:t>potential improvements</a:t>
            </a:r>
            <a:r>
              <a:rPr lang="en-US" sz="1400" dirty="0">
                <a:latin typeface="Amasis MT Pro" panose="02040504050005020304" pitchFamily="18" charset="0"/>
              </a:rPr>
              <a:t>, like a new cooling strategy or energy management algorithm</a:t>
            </a:r>
          </a:p>
          <a:p>
            <a:pPr>
              <a:lnSpc>
                <a:spcPct val="90000"/>
              </a:lnSpc>
              <a:spcBef>
                <a:spcPts val="600"/>
              </a:spcBef>
            </a:pPr>
            <a:r>
              <a:rPr lang="en-US" sz="1400" dirty="0">
                <a:latin typeface="Amasis MT Pro" panose="02040504050005020304" pitchFamily="18" charset="0"/>
              </a:rPr>
              <a:t>The ultimate goal is to </a:t>
            </a:r>
            <a:r>
              <a:rPr lang="en-US" sz="1400" b="1" dirty="0">
                <a:latin typeface="Amasis MT Pro" panose="02040504050005020304" pitchFamily="18" charset="0"/>
              </a:rPr>
              <a:t>gain insights</a:t>
            </a:r>
            <a:r>
              <a:rPr lang="en-US" sz="1400" dirty="0">
                <a:latin typeface="Amasis MT Pro" panose="02040504050005020304" pitchFamily="18" charset="0"/>
              </a:rPr>
              <a:t> that help </a:t>
            </a:r>
            <a:r>
              <a:rPr lang="en-US" sz="1400" b="1" dirty="0">
                <a:latin typeface="Amasis MT Pro" panose="02040504050005020304" pitchFamily="18" charset="0"/>
              </a:rPr>
              <a:t>optimize performance</a:t>
            </a:r>
            <a:r>
              <a:rPr lang="en-US" sz="1400" dirty="0">
                <a:latin typeface="Amasis MT Pro" panose="02040504050005020304" pitchFamily="18" charset="0"/>
              </a:rPr>
              <a:t>, </a:t>
            </a:r>
            <a:r>
              <a:rPr lang="en-US" sz="1400" b="1" dirty="0">
                <a:latin typeface="Amasis MT Pro" panose="02040504050005020304" pitchFamily="18" charset="0"/>
              </a:rPr>
              <a:t>prevent failures</a:t>
            </a:r>
            <a:r>
              <a:rPr lang="en-US" sz="1400" dirty="0">
                <a:latin typeface="Amasis MT Pro" panose="02040504050005020304" pitchFamily="18" charset="0"/>
              </a:rPr>
              <a:t>, and </a:t>
            </a:r>
            <a:r>
              <a:rPr lang="en-US" sz="1400" b="1" dirty="0">
                <a:latin typeface="Amasis MT Pro" panose="02040504050005020304" pitchFamily="18" charset="0"/>
              </a:rPr>
              <a:t>enhance the efficiency and reliability</a:t>
            </a:r>
            <a:r>
              <a:rPr lang="en-US" sz="1400" dirty="0">
                <a:latin typeface="Amasis MT Pro" panose="02040504050005020304" pitchFamily="18" charset="0"/>
              </a:rPr>
              <a:t> of the actual vehicle powertrain.</a:t>
            </a:r>
          </a:p>
          <a:p>
            <a:pPr>
              <a:lnSpc>
                <a:spcPct val="90000"/>
              </a:lnSpc>
              <a:spcBef>
                <a:spcPts val="600"/>
              </a:spcBef>
            </a:pPr>
            <a:endParaRPr lang="en-US" sz="1600" dirty="0">
              <a:latin typeface="Amasis MT Pro" panose="02040504050005020304" pitchFamily="18" charset="0"/>
            </a:endParaRPr>
          </a:p>
        </p:txBody>
      </p:sp>
      <p:sp>
        <p:nvSpPr>
          <p:cNvPr id="2" name="Title 1">
            <a:extLst>
              <a:ext uri="{FF2B5EF4-FFF2-40B4-BE49-F238E27FC236}">
                <a16:creationId xmlns:a16="http://schemas.microsoft.com/office/drawing/2014/main" id="{3E8263B5-B71D-1BB5-85C6-8967F7629BE0}"/>
              </a:ext>
            </a:extLst>
          </p:cNvPr>
          <p:cNvSpPr>
            <a:spLocks noGrp="1"/>
          </p:cNvSpPr>
          <p:nvPr>
            <p:ph type="title"/>
          </p:nvPr>
        </p:nvSpPr>
        <p:spPr>
          <a:xfrm>
            <a:off x="5716688" y="30623"/>
            <a:ext cx="5063967" cy="792163"/>
          </a:xfrm>
        </p:spPr>
        <p:txBody>
          <a:bodyPr vert="horz" lIns="0" tIns="0" rIns="0" bIns="0" rtlCol="0" anchor="b" anchorCtr="0">
            <a:normAutofit/>
          </a:bodyPr>
          <a:lstStyle/>
          <a:p>
            <a:r>
              <a:rPr kumimoji="0" lang="en-US" b="0" i="0" u="none" strike="noStrike" kern="1200" cap="none" spc="0" normalizeH="0" baseline="0" noProof="0" dirty="0">
                <a:ln>
                  <a:noFill/>
                </a:ln>
                <a:effectLst/>
                <a:uLnTx/>
                <a:uFillTx/>
                <a:latin typeface="+mj-lt"/>
                <a:ea typeface="+mj-ea"/>
                <a:cs typeface="+mj-cs"/>
              </a:rPr>
              <a:t>How does a digital twin work?</a:t>
            </a:r>
          </a:p>
        </p:txBody>
      </p:sp>
      <p:sp>
        <p:nvSpPr>
          <p:cNvPr id="4" name="Rectangle 1">
            <a:extLst>
              <a:ext uri="{FF2B5EF4-FFF2-40B4-BE49-F238E27FC236}">
                <a16:creationId xmlns:a16="http://schemas.microsoft.com/office/drawing/2014/main" id="{C15FB94C-7D5B-8935-76A9-DFEF5B31CD36}"/>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pic>
        <p:nvPicPr>
          <p:cNvPr id="6148" name="Picture 4" descr="Mage media">
            <a:extLst>
              <a:ext uri="{FF2B5EF4-FFF2-40B4-BE49-F238E27FC236}">
                <a16:creationId xmlns:a16="http://schemas.microsoft.com/office/drawing/2014/main" id="{72D9FE1F-F64C-B931-10E6-077AF6D4C9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591944"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253881"/>
      </p:ext>
    </p:extLst>
  </p:cSld>
  <p:clrMapOvr>
    <a:masterClrMapping/>
  </p:clrMapOvr>
</p:sld>
</file>

<file path=ppt/slides/slide40.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9E0522-6A7E-A3BC-0827-10AA79B10871}"/>
              </a:ext>
            </a:extLst>
          </p:cNvPr>
          <p:cNvSpPr>
            <a:spLocks noGrp="1"/>
          </p:cNvSpPr>
          <p:nvPr>
            <p:ph idx="17" sz="quarter" type="body"/>
          </p:nvPr>
        </p:nvSpPr>
        <p:spPr>
          <a:xfrm>
            <a:off x="6384032" y="1627200"/>
            <a:ext cx="5063967" cy="4825988"/>
          </a:xfrm>
        </p:spPr>
        <p:txBody>
          <a:bodyPr>
            <a:normAutofit/>
          </a:bodyPr>
          <a:lstStyle/>
          <a:p>
            <a:pPr>
              <a:buFont charset="0" panose="020B0604020202020204" pitchFamily="34" typeface="Arial"/>
              <a:buChar char="•"/>
            </a:pPr>
            <a:r>
              <a:rPr dirty="0" lang="en-US">
                <a:latin charset="0" panose="02040504050005020304" pitchFamily="18" typeface="Amasis MT Pro"/>
              </a:rPr>
              <a:t>Digital Twin Technology is </a:t>
            </a:r>
            <a:r>
              <a:rPr b="1" dirty="0" lang="en-US">
                <a:latin charset="0" panose="02040504050005020304" pitchFamily="18" typeface="Amasis MT Pro"/>
              </a:rPr>
              <a:t>revolutionizing</a:t>
            </a:r>
            <a:r>
              <a:rPr dirty="0" lang="en-US">
                <a:latin charset="0" panose="02040504050005020304" pitchFamily="18" typeface="Amasis MT Pro"/>
              </a:rPr>
              <a:t> how vehicles are designed, tested, produced, and maintained.</a:t>
            </a:r>
          </a:p>
          <a:p>
            <a:endParaRPr dirty="0" lang="en-US">
              <a:latin charset="0" panose="02040504050005020304" pitchFamily="18" typeface="Amasis MT Pro"/>
            </a:endParaRPr>
          </a:p>
          <a:p>
            <a:pPr>
              <a:buFont charset="0" panose="020B0604020202020204" pitchFamily="34" typeface="Arial"/>
              <a:buChar char="•"/>
            </a:pPr>
            <a:r>
              <a:rPr dirty="0" lang="en-US">
                <a:latin charset="0" panose="02040504050005020304" pitchFamily="18" typeface="Amasis MT Pro"/>
              </a:rPr>
              <a:t>Acts as a </a:t>
            </a:r>
            <a:r>
              <a:rPr b="1" dirty="0" lang="en-US">
                <a:latin charset="0" panose="02040504050005020304" pitchFamily="18" typeface="Amasis MT Pro"/>
              </a:rPr>
              <a:t>bridge between physical systems and digital intelligence</a:t>
            </a:r>
            <a:r>
              <a:rPr dirty="0" lang="en-US">
                <a:latin charset="0" panose="02040504050005020304" pitchFamily="18" typeface="Amasis MT Pro"/>
              </a:rPr>
              <a:t>, enabling data-driven decision-making across the vehicle lifecycle.</a:t>
            </a:r>
          </a:p>
          <a:p>
            <a:endParaRPr dirty="0" lang="en-US">
              <a:latin charset="0" panose="02040504050005020304" pitchFamily="18" typeface="Amasis MT Pro"/>
            </a:endParaRPr>
          </a:p>
          <a:p>
            <a:pPr>
              <a:buFont charset="0" panose="020B0604020202020204" pitchFamily="34" typeface="Arial"/>
              <a:buChar char="•"/>
            </a:pPr>
            <a:r>
              <a:rPr dirty="0" lang="en-US">
                <a:latin charset="0" panose="02040504050005020304" pitchFamily="18" typeface="Amasis MT Pro"/>
              </a:rPr>
              <a:t>Empowers </a:t>
            </a:r>
            <a:r>
              <a:rPr b="1" dirty="0" lang="en-US">
                <a:latin charset="0" panose="02040504050005020304" pitchFamily="18" typeface="Amasis MT Pro"/>
              </a:rPr>
              <a:t>faster innovation</a:t>
            </a:r>
            <a:r>
              <a:rPr dirty="0" lang="en-US">
                <a:latin charset="0" panose="02040504050005020304" pitchFamily="18" typeface="Amasis MT Pro"/>
              </a:rPr>
              <a:t>, </a:t>
            </a:r>
            <a:r>
              <a:rPr b="1" dirty="0" lang="en-US">
                <a:latin charset="0" panose="02040504050005020304" pitchFamily="18" typeface="Amasis MT Pro"/>
              </a:rPr>
              <a:t>smarter manufacturing</a:t>
            </a:r>
            <a:r>
              <a:rPr dirty="0" lang="en-US">
                <a:latin charset="0" panose="02040504050005020304" pitchFamily="18" typeface="Amasis MT Pro"/>
              </a:rPr>
              <a:t>, and </a:t>
            </a:r>
            <a:r>
              <a:rPr b="1" dirty="0" lang="en-US">
                <a:latin charset="0" panose="02040504050005020304" pitchFamily="18" typeface="Amasis MT Pro"/>
              </a:rPr>
              <a:t>personalized customer experiences</a:t>
            </a:r>
            <a:r>
              <a:rPr dirty="0" lang="en-US">
                <a:latin charset="0" panose="02040504050005020304" pitchFamily="18" typeface="Amasis MT Pro"/>
              </a:rPr>
              <a:t>.</a:t>
            </a:r>
          </a:p>
          <a:p>
            <a:pPr>
              <a:buFont charset="0" panose="020B0604020202020204" pitchFamily="34" typeface="Arial"/>
              <a:buChar char="•"/>
            </a:pPr>
            <a:endParaRPr dirty="0" lang="en-US">
              <a:latin charset="0" panose="02040504050005020304" pitchFamily="18" typeface="Amasis MT Pro"/>
            </a:endParaRPr>
          </a:p>
          <a:p>
            <a:pPr>
              <a:buFont charset="0" panose="020B0604020202020204" pitchFamily="34" typeface="Arial"/>
              <a:buChar char="•"/>
            </a:pPr>
            <a:r>
              <a:rPr dirty="0" lang="en-US">
                <a:latin charset="0" panose="02040504050005020304" pitchFamily="18" typeface="Amasis MT Pro"/>
              </a:rPr>
              <a:t>As the industry moves towards </a:t>
            </a:r>
            <a:r>
              <a:rPr b="1" dirty="0" lang="en-US">
                <a:latin charset="0" panose="02040504050005020304" pitchFamily="18" typeface="Amasis MT Pro"/>
              </a:rPr>
              <a:t>autonomous, connected, and electric vehicles</a:t>
            </a:r>
            <a:r>
              <a:rPr dirty="0" lang="en-US">
                <a:latin charset="0" panose="02040504050005020304" pitchFamily="18" typeface="Amasis MT Pro"/>
              </a:rPr>
              <a:t>, digital twins will become a </a:t>
            </a:r>
            <a:r>
              <a:rPr b="1" dirty="0" lang="en-US">
                <a:latin charset="0" panose="02040504050005020304" pitchFamily="18" typeface="Amasis MT Pro"/>
              </a:rPr>
              <a:t>core enabler of transformation</a:t>
            </a:r>
            <a:r>
              <a:rPr dirty="0" lang="en-US">
                <a:latin charset="0" panose="02040504050005020304" pitchFamily="18" typeface="Amasis MT Pro"/>
              </a:rPr>
              <a:t>.</a:t>
            </a:r>
          </a:p>
          <a:p>
            <a:endParaRPr dirty="0" lang="en-IN">
              <a:latin charset="0" panose="02040504050005020304" pitchFamily="18" typeface="Amasis MT Pro"/>
            </a:endParaRPr>
          </a:p>
        </p:txBody>
      </p:sp>
      <p:pic>
        <p:nvPicPr>
          <p:cNvPr descr="A blue car with icons on it&#10;&#10;AI-generated content may be incorrect." id="6" name="Picture Placeholder 5">
            <a:extLst>
              <a:ext uri="{FF2B5EF4-FFF2-40B4-BE49-F238E27FC236}">
                <a16:creationId xmlns:a16="http://schemas.microsoft.com/office/drawing/2014/main" id="{369956A3-07E6-707E-63D3-B0B87BBAF8E7}"/>
              </a:ext>
            </a:extLst>
          </p:cNvPr>
          <p:cNvPicPr>
            <a:picLocks noChangeAspect="1" noGrp="1"/>
          </p:cNvPicPr>
          <p:nvPr>
            <p:ph idx="18" sz="quarter" type="pic"/>
          </p:nvPr>
        </p:nvPicPr>
        <p:blipFill>
          <a:blip r:embed="rId3"/>
          <a:srcRect b="18" t="18"/>
          <a:stretch/>
        </p:blipFill>
        <p:spPr>
          <a:xfrm>
            <a:off x="0" y="30"/>
            <a:ext cx="6096000" cy="6857941"/>
          </a:xfrm>
          <a:prstGeom prst="rect">
            <a:avLst/>
          </a:prstGeom>
          <a:noFill/>
        </p:spPr>
      </p:pic>
      <p:sp>
        <p:nvSpPr>
          <p:cNvPr id="5" name="Title 4">
            <a:extLst>
              <a:ext uri="{FF2B5EF4-FFF2-40B4-BE49-F238E27FC236}">
                <a16:creationId xmlns:a16="http://schemas.microsoft.com/office/drawing/2014/main" id="{79154B34-8A6D-9F95-FD6C-7D8B780E515F}"/>
              </a:ext>
            </a:extLst>
          </p:cNvPr>
          <p:cNvSpPr>
            <a:spLocks noGrp="1"/>
          </p:cNvSpPr>
          <p:nvPr>
            <p:ph type="title"/>
          </p:nvPr>
        </p:nvSpPr>
        <p:spPr>
          <a:xfrm>
            <a:off x="6359417" y="260350"/>
            <a:ext cx="5063967" cy="792163"/>
          </a:xfrm>
        </p:spPr>
        <p:txBody>
          <a:bodyPr anchor="b">
            <a:normAutofit/>
          </a:bodyPr>
          <a:lstStyle/>
          <a:p>
            <a:r>
              <a:rPr dirty="0" lang="en-IN"/>
              <a:t>Conclusion and Summary</a:t>
            </a:r>
          </a:p>
        </p:txBody>
      </p:sp>
    </p:spTree>
    <p:extLst>
      <p:ext uri="{BB962C8B-B14F-4D97-AF65-F5344CB8AC3E}">
        <p14:creationId xmlns:p14="http://schemas.microsoft.com/office/powerpoint/2010/main" val="23279748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08C25-8F58-9F58-118E-2AF033901B63}"/>
              </a:ext>
            </a:extLst>
          </p:cNvPr>
          <p:cNvSpPr>
            <a:spLocks noGrp="1"/>
          </p:cNvSpPr>
          <p:nvPr>
            <p:ph type="title"/>
          </p:nvPr>
        </p:nvSpPr>
        <p:spPr>
          <a:xfrm>
            <a:off x="2783632" y="1008923"/>
            <a:ext cx="6768751" cy="792163"/>
          </a:xfrm>
        </p:spPr>
        <p:txBody>
          <a:bodyPr/>
          <a:lstStyle/>
          <a:p>
            <a:r>
              <a:rPr lang="en-US" sz="8000" dirty="0"/>
              <a:t>Thank You </a:t>
            </a:r>
          </a:p>
        </p:txBody>
      </p:sp>
      <p:pic>
        <p:nvPicPr>
          <p:cNvPr id="7" name="Image 6">
            <a:extLst>
              <a:ext uri="{FF2B5EF4-FFF2-40B4-BE49-F238E27FC236}">
                <a16:creationId xmlns:a16="http://schemas.microsoft.com/office/drawing/2014/main" id="{A1198DDF-B60C-4A53-2323-7DD24F3D7DD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19336" y="2176378"/>
            <a:ext cx="4228920" cy="1717552"/>
          </a:xfrm>
          <a:prstGeom prst="rect">
            <a:avLst/>
          </a:prstGeom>
        </p:spPr>
      </p:pic>
      <p:pic>
        <p:nvPicPr>
          <p:cNvPr id="13" name="Image 12">
            <a:extLst>
              <a:ext uri="{FF2B5EF4-FFF2-40B4-BE49-F238E27FC236}">
                <a16:creationId xmlns:a16="http://schemas.microsoft.com/office/drawing/2014/main" id="{671E9E82-859B-994A-F930-80D68626FE3D}"/>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548956" y="1702306"/>
            <a:ext cx="3294790" cy="2729635"/>
          </a:xfrm>
          <a:prstGeom prst="rect">
            <a:avLst/>
          </a:prstGeom>
        </p:spPr>
      </p:pic>
      <p:pic>
        <p:nvPicPr>
          <p:cNvPr id="15" name="Image 14">
            <a:extLst>
              <a:ext uri="{FF2B5EF4-FFF2-40B4-BE49-F238E27FC236}">
                <a16:creationId xmlns:a16="http://schemas.microsoft.com/office/drawing/2014/main" id="{98815BCD-F81D-9B5B-1DB9-6685E248DFD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6960096" y="2132856"/>
            <a:ext cx="5014606" cy="1951323"/>
          </a:xfrm>
          <a:prstGeom prst="rect">
            <a:avLst/>
          </a:prstGeom>
        </p:spPr>
      </p:pic>
      <p:pic>
        <p:nvPicPr>
          <p:cNvPr id="16" name="Image 15">
            <a:extLst>
              <a:ext uri="{FF2B5EF4-FFF2-40B4-BE49-F238E27FC236}">
                <a16:creationId xmlns:a16="http://schemas.microsoft.com/office/drawing/2014/main" id="{A15C1747-3B3F-4AFD-E5AD-4B400A4AC04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3791744" y="4581525"/>
            <a:ext cx="3294790" cy="2729635"/>
          </a:xfrm>
          <a:prstGeom prst="rect">
            <a:avLst/>
          </a:prstGeom>
        </p:spPr>
      </p:pic>
      <p:sp>
        <p:nvSpPr>
          <p:cNvPr id="17" name="TextBox 16">
            <a:extLst>
              <a:ext uri="{FF2B5EF4-FFF2-40B4-BE49-F238E27FC236}">
                <a16:creationId xmlns:a16="http://schemas.microsoft.com/office/drawing/2014/main" id="{28084D06-4655-531E-C6FB-50A48C4A88C4}"/>
              </a:ext>
            </a:extLst>
          </p:cNvPr>
          <p:cNvSpPr txBox="1"/>
          <p:nvPr/>
        </p:nvSpPr>
        <p:spPr>
          <a:xfrm>
            <a:off x="767408" y="4001391"/>
            <a:ext cx="10801200" cy="1569660"/>
          </a:xfrm>
          <a:prstGeom prst="rect">
            <a:avLst/>
          </a:prstGeom>
          <a:noFill/>
        </p:spPr>
        <p:txBody>
          <a:bodyPr wrap="square">
            <a:spAutoFit/>
          </a:bodyPr>
          <a:lstStyle/>
          <a:p>
            <a:r>
              <a:rPr lang="en-US" sz="4800" i="1" dirty="0">
                <a:latin typeface="Aptos SemiBold" panose="020F0502020204030204" pitchFamily="34" charset="0"/>
              </a:rPr>
              <a:t>Digital Twin Technology in the Automotive Industry                  		      	</a:t>
            </a:r>
            <a:r>
              <a:rPr lang="en-IN" sz="4800" i="1" dirty="0">
                <a:latin typeface="Aptos SemiBold" panose="020F0502020204030204" pitchFamily="34" charset="0"/>
              </a:rPr>
              <a:t>-Akhila Vulluri</a:t>
            </a:r>
          </a:p>
        </p:txBody>
      </p:sp>
    </p:spTree>
    <p:extLst>
      <p:ext uri="{BB962C8B-B14F-4D97-AF65-F5344CB8AC3E}">
        <p14:creationId xmlns:p14="http://schemas.microsoft.com/office/powerpoint/2010/main" val="3724249930"/>
      </p:ext>
    </p:extLst>
  </p:cSld>
  <p:clrMapOvr>
    <a:masterClrMapping/>
  </p:clrMapOvr>
</p:sld>
</file>

<file path=ppt/slides/slide5.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78220690-0DDB-FCF6-7A38-2B3F5F42576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74A709-22EF-7732-9E3A-7B7438EEF6DA}"/>
              </a:ext>
            </a:extLst>
          </p:cNvPr>
          <p:cNvSpPr>
            <a:spLocks noGrp="1"/>
          </p:cNvSpPr>
          <p:nvPr>
            <p:ph type="title"/>
          </p:nvPr>
        </p:nvSpPr>
        <p:spPr/>
        <p:txBody>
          <a:bodyPr/>
          <a:lstStyle/>
          <a:p>
            <a:r>
              <a:rPr dirty="0" lang="en-IN"/>
              <a:t>History of digital twin technology</a:t>
            </a:r>
            <a:br>
              <a:rPr dirty="0" lang="en-IN"/>
            </a:br>
            <a:endParaRPr dirty="0" lang="en-IN"/>
          </a:p>
        </p:txBody>
      </p:sp>
      <p:sp>
        <p:nvSpPr>
          <p:cNvPr id="5" name="TextBox 4">
            <a:extLst>
              <a:ext uri="{FF2B5EF4-FFF2-40B4-BE49-F238E27FC236}">
                <a16:creationId xmlns:a16="http://schemas.microsoft.com/office/drawing/2014/main" id="{02B11CF8-B60C-1A4E-D7DA-9486D97DF2C6}"/>
              </a:ext>
            </a:extLst>
          </p:cNvPr>
          <p:cNvSpPr txBox="1"/>
          <p:nvPr/>
        </p:nvSpPr>
        <p:spPr>
          <a:xfrm>
            <a:off x="-2786" y="801323"/>
            <a:ext cx="7538946" cy="2031325"/>
          </a:xfrm>
          <a:prstGeom prst="rect">
            <a:avLst/>
          </a:prstGeom>
          <a:noFill/>
        </p:spPr>
        <p:txBody>
          <a:bodyPr wrap="square">
            <a:spAutoFit/>
          </a:bodyPr>
          <a:lstStyle/>
          <a:p>
            <a:r>
              <a:rPr dirty="0" lang="en-IN">
                <a:latin charset="0" panose="02040504050005020304" pitchFamily="18" typeface="Amasis MT Pro"/>
              </a:rPr>
              <a:t>The idea of digital twin technology was first voiced in 1991, with the publication of Mirror Worlds, by David Gelernter. However, Dr. Michael Grieves (then on faculty at the University of Michigan) is credited with first applying the concept of digital twins to manufacturing in 2002 and formally announcing the digital twin software concept. Eventually, NASA’s John Vickers introduced a new term, “digital twin” in 2010.</a:t>
            </a:r>
          </a:p>
          <a:p>
            <a:endParaRPr dirty="0" lang="en-IN"/>
          </a:p>
        </p:txBody>
      </p:sp>
      <p:sp>
        <p:nvSpPr>
          <p:cNvPr id="6" name="Rectangle 1">
            <a:extLst>
              <a:ext uri="{FF2B5EF4-FFF2-40B4-BE49-F238E27FC236}">
                <a16:creationId xmlns:a16="http://schemas.microsoft.com/office/drawing/2014/main" id="{48E6117A-9A45-28FB-7629-DBD8E6AC16F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none">
            <a:prstTxWarp prst="textNoShape">
              <a:avLst/>
            </a:prstTxWarp>
            <a:spAutoFit/>
          </a:bodyPr>
          <a:lstStyle/>
          <a:p>
            <a:endParaRPr lang="en-IN"/>
          </a:p>
        </p:txBody>
      </p:sp>
      <p:sp>
        <p:nvSpPr>
          <p:cNvPr id="7" name="Rectangle 2">
            <a:extLst>
              <a:ext uri="{FF2B5EF4-FFF2-40B4-BE49-F238E27FC236}">
                <a16:creationId xmlns:a16="http://schemas.microsoft.com/office/drawing/2014/main" id="{6E9E0C89-1C22-DA6D-6E5C-042395B17763}"/>
              </a:ext>
            </a:extLst>
          </p:cNvPr>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none">
            <a:prstTxWarp prst="textNoShape">
              <a:avLst/>
            </a:prstTxWarp>
            <a:spAutoFit/>
          </a:bodyPr>
          <a:lstStyle/>
          <a:p>
            <a:endParaRPr lang="en-IN"/>
          </a:p>
        </p:txBody>
      </p:sp>
      <p:pic>
        <p:nvPicPr>
          <p:cNvPr descr="THE DIGITAL TWINS REVOLUTION : INSIGHTS FROM THE PIONEER- DR. MICHAEL  GRIEVES" id="1026" name="Picture 2">
            <a:extLst>
              <a:ext uri="{FF2B5EF4-FFF2-40B4-BE49-F238E27FC236}">
                <a16:creationId xmlns:a16="http://schemas.microsoft.com/office/drawing/2014/main" id="{298E33E3-A23B-16AC-546D-36EB76D9DA64}"/>
              </a:ext>
            </a:extLst>
          </p:cNvPr>
          <p:cNvPicPr>
            <a:picLocks noChangeArrowheads="1"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01851" y="2734912"/>
            <a:ext cx="5394183" cy="3877136"/>
          </a:xfrm>
          <a:prstGeom prst="rect">
            <a:avLst/>
          </a:prstGeom>
          <a:noFill/>
          <a:extLst>
            <a:ext uri="{909E8E84-426E-40DD-AFC4-6F175D3DCCD1}">
              <a14:hiddenFill xmlns:a14="http://schemas.microsoft.com/office/drawing/2010/main">
                <a:solidFill>
                  <a:srgbClr val="FFFFFF"/>
                </a:solidFill>
              </a14:hiddenFill>
            </a:ext>
          </a:extLst>
        </p:spPr>
      </p:pic>
      <p:pic>
        <p:nvPicPr>
          <p:cNvPr descr="Mage media" id="6146" name="Picture 2">
            <a:extLst>
              <a:ext uri="{FF2B5EF4-FFF2-40B4-BE49-F238E27FC236}">
                <a16:creationId xmlns:a16="http://schemas.microsoft.com/office/drawing/2014/main" id="{1CF19F3E-79EE-EB1D-FB86-0D7AD13F1BF8}"/>
              </a:ext>
            </a:extLst>
          </p:cNvPr>
          <p:cNvPicPr>
            <a:picLocks noChangeArrowheads="1" noChangeAspect="1"/>
          </p:cNvPicPr>
          <p:nvPr/>
        </p:nvPicPr>
        <p:blipFill>
          <a:blip r:embed="rId4">
            <a:extLst>
              <a:ext uri="{28A0092B-C50C-407E-A947-70E740481C1C}">
                <a14:useLocalDpi xmlns:a14="http://schemas.microsoft.com/office/drawing/2010/main" val="0"/>
              </a:ext>
            </a:extLst>
          </a:blip>
          <a:srcRect b="34" r="-1"/>
          <a:stretch>
            <a:fillRect/>
          </a:stretch>
        </p:blipFill>
        <p:spPr bwMode="auto">
          <a:xfrm>
            <a:off x="8055909" y="8049"/>
            <a:ext cx="4256090" cy="6857990"/>
          </a:xfrm>
          <a:prstGeom prst="rect">
            <a:avLst/>
          </a:prstGeom>
          <a:solidFill>
            <a:srgbClr val="FFFFFF"/>
          </a:solidFill>
        </p:spPr>
      </p:pic>
    </p:spTree>
    <p:extLst>
      <p:ext uri="{BB962C8B-B14F-4D97-AF65-F5344CB8AC3E}">
        <p14:creationId xmlns:p14="http://schemas.microsoft.com/office/powerpoint/2010/main" val="3438106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7" name="Picture 1">
            <a:extLst>
              <a:ext uri="{FF2B5EF4-FFF2-40B4-BE49-F238E27FC236}">
                <a16:creationId xmlns:a16="http://schemas.microsoft.com/office/drawing/2014/main" id="{62950D05-B20B-2BAC-2DDD-A4184BA47F2A}"/>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22206" y="1196752"/>
            <a:ext cx="8399406" cy="6958656"/>
          </a:xfrm>
          <a:prstGeom prst="rect">
            <a:avLst/>
          </a:prstGeom>
        </p:spPr>
      </p:pic>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119646" y="2209153"/>
            <a:ext cx="11952708" cy="747897"/>
          </a:xfrm>
        </p:spPr>
        <p:txBody>
          <a:bodyPr/>
          <a:lstStyle/>
          <a:p>
            <a:r>
              <a:rPr lang="en-US" dirty="0"/>
              <a:t>2. Key Components</a:t>
            </a:r>
          </a:p>
        </p:txBody>
      </p:sp>
      <p:sp>
        <p:nvSpPr>
          <p:cNvPr id="6" name="Sous-titre 5">
            <a:extLst>
              <a:ext uri="{FF2B5EF4-FFF2-40B4-BE49-F238E27FC236}">
                <a16:creationId xmlns:a16="http://schemas.microsoft.com/office/drawing/2014/main" id="{9B72701C-4BB3-9C0C-2075-0372CD7F2AD3}"/>
              </a:ext>
            </a:extLst>
          </p:cNvPr>
          <p:cNvSpPr>
            <a:spLocks noGrp="1"/>
          </p:cNvSpPr>
          <p:nvPr>
            <p:ph type="subTitle" idx="1"/>
          </p:nvPr>
        </p:nvSpPr>
        <p:spPr>
          <a:xfrm>
            <a:off x="297070" y="3051736"/>
            <a:ext cx="8670799" cy="2754600"/>
          </a:xfrm>
        </p:spPr>
        <p:txBody>
          <a:bodyPr/>
          <a:lstStyle/>
          <a:p>
            <a:pPr marL="342900" indent="-342900">
              <a:buFont typeface="+mj-lt"/>
              <a:buAutoNum type="alphaLcParenR"/>
            </a:pPr>
            <a:r>
              <a:rPr lang="en-US" sz="1800" dirty="0">
                <a:latin typeface="Amasis MT Pro" panose="02040504050005020304" pitchFamily="18" charset="0"/>
              </a:rPr>
              <a:t>Physical Entity</a:t>
            </a:r>
          </a:p>
          <a:p>
            <a:pPr marL="342900" indent="-342900">
              <a:buFont typeface="+mj-lt"/>
              <a:buAutoNum type="alphaLcParenR"/>
            </a:pPr>
            <a:r>
              <a:rPr lang="en-US" sz="1800" dirty="0">
                <a:latin typeface="Amasis MT Pro" panose="02040504050005020304" pitchFamily="18" charset="0"/>
              </a:rPr>
              <a:t>Digital Model</a:t>
            </a:r>
          </a:p>
          <a:p>
            <a:pPr marL="342900" indent="-342900">
              <a:buFont typeface="+mj-lt"/>
              <a:buAutoNum type="alphaLcParenR"/>
            </a:pPr>
            <a:r>
              <a:rPr lang="en-US" sz="1800" dirty="0">
                <a:latin typeface="Amasis MT Pro" panose="02040504050005020304" pitchFamily="18" charset="0"/>
              </a:rPr>
              <a:t>Data Sensors and IoT Devices</a:t>
            </a:r>
          </a:p>
          <a:p>
            <a:pPr marL="342900" indent="-342900">
              <a:buFont typeface="+mj-lt"/>
              <a:buAutoNum type="alphaLcParenR"/>
            </a:pPr>
            <a:r>
              <a:rPr lang="en-US" sz="1800" dirty="0">
                <a:latin typeface="Amasis MT Pro" panose="02040504050005020304" pitchFamily="18" charset="0"/>
              </a:rPr>
              <a:t>Data Integration and Communication Layer</a:t>
            </a:r>
          </a:p>
          <a:p>
            <a:pPr marL="342900" indent="-342900">
              <a:buFont typeface="+mj-lt"/>
              <a:buAutoNum type="alphaLcParenR"/>
            </a:pPr>
            <a:r>
              <a:rPr lang="en-US" sz="1800" dirty="0">
                <a:latin typeface="Amasis MT Pro" panose="02040504050005020304" pitchFamily="18" charset="0"/>
              </a:rPr>
              <a:t>Analytics and AI/ML Models</a:t>
            </a:r>
          </a:p>
          <a:p>
            <a:pPr marL="342900" indent="-342900">
              <a:buFont typeface="+mj-lt"/>
              <a:buAutoNum type="alphaLcParenR"/>
            </a:pPr>
            <a:r>
              <a:rPr lang="en-US" sz="1800" dirty="0">
                <a:latin typeface="Amasis MT Pro" panose="02040504050005020304" pitchFamily="18" charset="0"/>
              </a:rPr>
              <a:t>Visualization Tools</a:t>
            </a:r>
          </a:p>
          <a:p>
            <a:pPr marL="342900" indent="-342900">
              <a:buFont typeface="+mj-lt"/>
              <a:buAutoNum type="alphaLcParenR"/>
            </a:pPr>
            <a:r>
              <a:rPr lang="en-US" sz="1800" dirty="0">
                <a:latin typeface="Amasis MT Pro" panose="02040504050005020304" pitchFamily="18" charset="0"/>
              </a:rPr>
              <a:t>Feedback Mechanism</a:t>
            </a:r>
          </a:p>
          <a:p>
            <a:pPr marL="342900" indent="-342900">
              <a:buFont typeface="+mj-lt"/>
              <a:buAutoNum type="alphaLcParenR"/>
            </a:pPr>
            <a:r>
              <a:rPr lang="en-US" sz="1800" dirty="0">
                <a:latin typeface="Amasis MT Pro" panose="02040504050005020304" pitchFamily="18" charset="0"/>
              </a:rPr>
              <a:t>Security and Privacy Layer</a:t>
            </a:r>
          </a:p>
        </p:txBody>
      </p:sp>
      <p:sp>
        <p:nvSpPr>
          <p:cNvPr id="2" name="ZoneTexte 1">
            <a:extLst>
              <a:ext uri="{FF2B5EF4-FFF2-40B4-BE49-F238E27FC236}">
                <a16:creationId xmlns:a16="http://schemas.microsoft.com/office/drawing/2014/main" id="{99CCB8EA-7556-0424-5702-2C244B2C15E4}"/>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US" sz="1000" dirty="0">
                <a:solidFill>
                  <a:schemeClr val="bg2">
                    <a:lumMod val="75000"/>
                  </a:schemeClr>
                </a:solidFill>
              </a:rPr>
              <a:t>Company confidential</a:t>
            </a:r>
          </a:p>
        </p:txBody>
      </p:sp>
      <p:pic>
        <p:nvPicPr>
          <p:cNvPr id="7170" name="Picture 2" descr="Mage media">
            <a:extLst>
              <a:ext uri="{FF2B5EF4-FFF2-40B4-BE49-F238E27FC236}">
                <a16:creationId xmlns:a16="http://schemas.microsoft.com/office/drawing/2014/main" id="{B0A7C184-0554-720D-3B80-2D75520665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0" y="0"/>
            <a:ext cx="533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6387889"/>
      </p:ext>
    </p:extLst>
  </p:cSld>
  <p:clrMapOvr>
    <a:masterClrMapping/>
  </p:clrMapOvr>
</p:sld>
</file>

<file path=ppt/slides/slide7.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60D591FE-650B-10CA-1D81-981CFD0C4C0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35E52686-C6B2-AE2C-BAC9-CDFE4696BF6D}"/>
              </a:ext>
            </a:extLst>
          </p:cNvPr>
          <p:cNvSpPr>
            <a:spLocks noGrp="1"/>
          </p:cNvSpPr>
          <p:nvPr>
            <p:ph idx="17" sz="quarter" type="body"/>
          </p:nvPr>
        </p:nvSpPr>
        <p:spPr/>
        <p:txBody>
          <a:bodyPr/>
          <a:lstStyle/>
          <a:p>
            <a:pPr>
              <a:buNone/>
            </a:pPr>
            <a:r>
              <a:rPr dirty="0" lang="en-US" sz="1800">
                <a:latin charset="0" panose="02040504050005020304" pitchFamily="18" typeface="Amasis MT Pro"/>
              </a:rPr>
              <a:t>The actual vehicle, subsystem, or component that the digital twin represents.</a:t>
            </a:r>
          </a:p>
          <a:p>
            <a:pPr>
              <a:buFont charset="0" panose="020B0604020202020204" pitchFamily="34" typeface="Arial"/>
              <a:buChar char="•"/>
            </a:pPr>
            <a:r>
              <a:rPr b="1" dirty="0" lang="en-US" sz="1800">
                <a:latin charset="0" panose="02040504050005020304" pitchFamily="18" typeface="Amasis MT Pro"/>
              </a:rPr>
              <a:t>Automotive Example</a:t>
            </a:r>
            <a:r>
              <a:rPr dirty="0" lang="en-US" sz="1800">
                <a:latin charset="0" panose="02040504050005020304" pitchFamily="18" typeface="Amasis MT Pro"/>
              </a:rPr>
              <a:t>: A </a:t>
            </a:r>
            <a:r>
              <a:rPr b="1" dirty="0" lang="en-US" sz="1800">
                <a:latin charset="0" panose="02040504050005020304" pitchFamily="18" typeface="Amasis MT Pro"/>
              </a:rPr>
              <a:t>hybrid electric vehicle</a:t>
            </a:r>
            <a:r>
              <a:rPr dirty="0" lang="en-US" sz="1800">
                <a:latin charset="0" panose="02040504050005020304" pitchFamily="18" typeface="Amasis MT Pro"/>
              </a:rPr>
              <a:t>, a </a:t>
            </a:r>
            <a:r>
              <a:rPr b="1" dirty="0" lang="en-US" sz="1800">
                <a:latin charset="0" panose="02040504050005020304" pitchFamily="18" typeface="Amasis MT Pro"/>
              </a:rPr>
              <a:t>transmission unit</a:t>
            </a:r>
            <a:r>
              <a:rPr dirty="0" lang="en-US" sz="1800">
                <a:latin charset="0" panose="02040504050005020304" pitchFamily="18" typeface="Amasis MT Pro"/>
              </a:rPr>
              <a:t>, or an </a:t>
            </a:r>
            <a:r>
              <a:rPr b="1" dirty="0" lang="en-US" sz="1800">
                <a:latin charset="0" panose="02040504050005020304" pitchFamily="18" typeface="Amasis MT Pro"/>
              </a:rPr>
              <a:t>ADAS (Advanced Driver Assistance System)</a:t>
            </a:r>
            <a:r>
              <a:rPr dirty="0" lang="en-US" sz="1800">
                <a:latin charset="0" panose="02040504050005020304" pitchFamily="18" typeface="Amasis MT Pro"/>
              </a:rPr>
              <a:t>.</a:t>
            </a:r>
          </a:p>
          <a:p>
            <a:pPr>
              <a:buFont charset="0" panose="020B0604020202020204" pitchFamily="34" typeface="Arial"/>
              <a:buChar char="•"/>
            </a:pPr>
            <a:r>
              <a:rPr b="1" dirty="0" lang="en-US" sz="1800">
                <a:latin charset="0" panose="02040504050005020304" pitchFamily="18" typeface="Amasis MT Pro"/>
              </a:rPr>
              <a:t>Use Case</a:t>
            </a:r>
            <a:r>
              <a:rPr dirty="0" lang="en-US" sz="1800">
                <a:latin charset="0" panose="02040504050005020304" pitchFamily="18" typeface="Amasis MT Pro"/>
              </a:rPr>
              <a:t>: Monitoring how a </a:t>
            </a:r>
            <a:r>
              <a:rPr b="1" dirty="0" lang="en-US" sz="1800">
                <a:latin charset="0" panose="02040504050005020304" pitchFamily="18" typeface="Amasis MT Pro"/>
              </a:rPr>
              <a:t>physical powertrain</a:t>
            </a:r>
            <a:r>
              <a:rPr dirty="0" lang="en-US" sz="1800">
                <a:latin charset="0" panose="02040504050005020304" pitchFamily="18" typeface="Amasis MT Pro"/>
              </a:rPr>
              <a:t> behaves during real-world driving scenarios like city traffic vs. highway cruising.</a:t>
            </a:r>
          </a:p>
          <a:p>
            <a:endParaRPr dirty="0" lang="en-IN"/>
          </a:p>
        </p:txBody>
      </p:sp>
      <p:sp>
        <p:nvSpPr>
          <p:cNvPr id="5" name="Title 4">
            <a:extLst>
              <a:ext uri="{FF2B5EF4-FFF2-40B4-BE49-F238E27FC236}">
                <a16:creationId xmlns:a16="http://schemas.microsoft.com/office/drawing/2014/main" id="{B21898FA-AF5E-805C-ADD8-846950AD612B}"/>
              </a:ext>
            </a:extLst>
          </p:cNvPr>
          <p:cNvSpPr>
            <a:spLocks noGrp="1"/>
          </p:cNvSpPr>
          <p:nvPr>
            <p:ph type="title"/>
          </p:nvPr>
        </p:nvSpPr>
        <p:spPr/>
        <p:txBody>
          <a:bodyPr/>
          <a:lstStyle/>
          <a:p>
            <a:r>
              <a:rPr dirty="0" lang="en-IN"/>
              <a:t>1. </a:t>
            </a:r>
            <a:r>
              <a:rPr b="1" dirty="0" lang="en-IN"/>
              <a:t>Physical Entity</a:t>
            </a:r>
            <a:endParaRPr dirty="0" lang="en-IN"/>
          </a:p>
        </p:txBody>
      </p:sp>
      <p:pic>
        <p:nvPicPr>
          <p:cNvPr descr="Mage media" id="11266" name="Picture 2">
            <a:extLst>
              <a:ext uri="{FF2B5EF4-FFF2-40B4-BE49-F238E27FC236}">
                <a16:creationId xmlns:a16="http://schemas.microsoft.com/office/drawing/2014/main" id="{63A35584-077E-E9C0-47EC-FC7E70274009}"/>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6692224"/>
      </p:ext>
    </p:extLst>
  </p:cSld>
  <p:clrMapOvr>
    <a:masterClrMapping/>
  </p:clrMapOvr>
</p:sld>
</file>

<file path=ppt/slides/slide8.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839A06FD-DFC6-85FF-04D0-056DF83F643D}"/>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244B8E8A-3708-B6A9-1DF3-82748262CB9F}"/>
              </a:ext>
            </a:extLst>
          </p:cNvPr>
          <p:cNvSpPr>
            <a:spLocks noGrp="1"/>
          </p:cNvSpPr>
          <p:nvPr>
            <p:ph idx="17" sz="quarter" type="body"/>
          </p:nvPr>
        </p:nvSpPr>
        <p:spPr/>
        <p:txBody>
          <a:bodyPr/>
          <a:lstStyle/>
          <a:p>
            <a:pPr>
              <a:buNone/>
            </a:pPr>
            <a:r>
              <a:rPr dirty="0" lang="en-US" sz="1800">
                <a:latin charset="0" panose="02040504050005020304" pitchFamily="18" typeface="Amasis MT Pro"/>
              </a:rPr>
              <a:t>A virtual clone of the physical entity built using:</a:t>
            </a:r>
          </a:p>
          <a:p>
            <a:pPr>
              <a:buFont charset="0" panose="020B0604020202020204" pitchFamily="34" typeface="Arial"/>
              <a:buChar char="•"/>
            </a:pPr>
            <a:r>
              <a:rPr dirty="0" lang="en-US" sz="1800">
                <a:latin charset="0" panose="02040504050005020304" pitchFamily="18" typeface="Amasis MT Pro"/>
              </a:rPr>
              <a:t>3D CAD (computer aided design) models</a:t>
            </a:r>
          </a:p>
          <a:p>
            <a:pPr>
              <a:buFont charset="0" panose="020B0604020202020204" pitchFamily="34" typeface="Arial"/>
              <a:buChar char="•"/>
            </a:pPr>
            <a:r>
              <a:rPr dirty="0" lang="en-US" sz="1800">
                <a:latin charset="0" panose="02040504050005020304" pitchFamily="18" typeface="Amasis MT Pro"/>
              </a:rPr>
              <a:t>Control logic simulations (e.g., Simulink)</a:t>
            </a:r>
          </a:p>
          <a:p>
            <a:pPr>
              <a:buFont charset="0" panose="020B0604020202020204" pitchFamily="34" typeface="Arial"/>
              <a:buChar char="•"/>
            </a:pPr>
            <a:r>
              <a:rPr dirty="0" lang="en-US" sz="1800">
                <a:latin charset="0" panose="02040504050005020304" pitchFamily="18" typeface="Amasis MT Pro"/>
              </a:rPr>
              <a:t>Physics-based models and real-world test data</a:t>
            </a:r>
          </a:p>
          <a:p>
            <a:pPr>
              <a:buFont charset="0" panose="020B0604020202020204" pitchFamily="34" typeface="Arial"/>
              <a:buChar char="•"/>
            </a:pPr>
            <a:r>
              <a:rPr b="1" dirty="0" lang="en-US" sz="1800">
                <a:latin charset="0" panose="02040504050005020304" pitchFamily="18" typeface="Amasis MT Pro"/>
              </a:rPr>
              <a:t>Automotive Example</a:t>
            </a:r>
            <a:r>
              <a:rPr dirty="0" lang="en-US" sz="1800">
                <a:latin charset="0" panose="02040504050005020304" pitchFamily="18" typeface="Amasis MT Pro"/>
              </a:rPr>
              <a:t>: A digital model of an </a:t>
            </a:r>
            <a:r>
              <a:rPr b="1" dirty="0" lang="en-US" sz="1800">
                <a:latin charset="0" panose="02040504050005020304" pitchFamily="18" typeface="Amasis MT Pro"/>
              </a:rPr>
              <a:t>EV drivetrain</a:t>
            </a:r>
            <a:r>
              <a:rPr dirty="0" lang="en-US" sz="1800">
                <a:latin charset="0" panose="02040504050005020304" pitchFamily="18" typeface="Amasis MT Pro"/>
              </a:rPr>
              <a:t> with electrical and thermal characteristics.</a:t>
            </a:r>
          </a:p>
          <a:p>
            <a:pPr>
              <a:buFont charset="0" panose="020B0604020202020204" pitchFamily="34" typeface="Arial"/>
              <a:buChar char="•"/>
            </a:pPr>
            <a:r>
              <a:rPr b="1" dirty="0" lang="en-US" sz="1800">
                <a:latin charset="0" panose="02040504050005020304" pitchFamily="18" typeface="Amasis MT Pro"/>
              </a:rPr>
              <a:t>Use Case</a:t>
            </a:r>
            <a:r>
              <a:rPr dirty="0" lang="en-US" sz="1800">
                <a:latin charset="0" panose="02040504050005020304" pitchFamily="18" typeface="Amasis MT Pro"/>
              </a:rPr>
              <a:t>: Simulating how the </a:t>
            </a:r>
            <a:r>
              <a:rPr b="1" dirty="0" lang="en-US" sz="1800">
                <a:latin charset="0" panose="02040504050005020304" pitchFamily="18" typeface="Amasis MT Pro"/>
              </a:rPr>
              <a:t>inverter</a:t>
            </a:r>
            <a:r>
              <a:rPr dirty="0" lang="en-US" sz="1800">
                <a:latin charset="0" panose="02040504050005020304" pitchFamily="18" typeface="Amasis MT Pro"/>
              </a:rPr>
              <a:t> responds to varying load conditions to avoid overheating.</a:t>
            </a:r>
          </a:p>
          <a:p>
            <a:endParaRPr dirty="0" lang="en-IN"/>
          </a:p>
        </p:txBody>
      </p:sp>
      <p:sp>
        <p:nvSpPr>
          <p:cNvPr id="5" name="Title 4">
            <a:extLst>
              <a:ext uri="{FF2B5EF4-FFF2-40B4-BE49-F238E27FC236}">
                <a16:creationId xmlns:a16="http://schemas.microsoft.com/office/drawing/2014/main" id="{59C09D05-5F35-8323-B39C-AC913ECCE109}"/>
              </a:ext>
            </a:extLst>
          </p:cNvPr>
          <p:cNvSpPr>
            <a:spLocks noGrp="1"/>
          </p:cNvSpPr>
          <p:nvPr>
            <p:ph type="title"/>
          </p:nvPr>
        </p:nvSpPr>
        <p:spPr/>
        <p:txBody>
          <a:bodyPr/>
          <a:lstStyle/>
          <a:p>
            <a:r>
              <a:rPr dirty="0" lang="en-IN"/>
              <a:t>2. </a:t>
            </a:r>
            <a:r>
              <a:rPr b="1" dirty="0" lang="en-IN"/>
              <a:t>Digital Model</a:t>
            </a:r>
            <a:endParaRPr dirty="0" lang="en-IN"/>
          </a:p>
        </p:txBody>
      </p:sp>
      <p:pic>
        <p:nvPicPr>
          <p:cNvPr descr="Mage media" id="12290" name="Picture 2">
            <a:extLst>
              <a:ext uri="{FF2B5EF4-FFF2-40B4-BE49-F238E27FC236}">
                <a16:creationId xmlns:a16="http://schemas.microsoft.com/office/drawing/2014/main" id="{AC25BB4E-DB04-F572-ECB8-5F1AD4781A57}"/>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4669343"/>
      </p:ext>
    </p:extLst>
  </p:cSld>
  <p:clrMapOvr>
    <a:masterClrMapping/>
  </p:clrMapOvr>
</p:sld>
</file>

<file path=ppt/slides/slide9.xml><?xml version="1.0" encoding="utf-8"?>
<p:sld xmlns:p="http://schemas.openxmlformats.org/presentationml/2006/main" xmlns:a="http://schemas.openxmlformats.org/drawingml/2006/main" xmlns:r="http://schemas.openxmlformats.org/officeDocument/2006/relationships">
  <p:cSld>
    <p:spTree>
      <p:nvGrpSpPr>
        <p:cNvPr id="1" name="">
          <a:extLst>
            <a:ext uri="{FF2B5EF4-FFF2-40B4-BE49-F238E27FC236}">
              <a16:creationId xmlns:a16="http://schemas.microsoft.com/office/drawing/2014/main" id="{9A7E3CF9-CC34-9CAF-421B-9E3FD549A7F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9473BD51-8465-CA97-A7D2-F3359308D02B}"/>
              </a:ext>
            </a:extLst>
          </p:cNvPr>
          <p:cNvSpPr>
            <a:spLocks noGrp="1"/>
          </p:cNvSpPr>
          <p:nvPr>
            <p:ph idx="17" sz="quarter" type="body"/>
          </p:nvPr>
        </p:nvSpPr>
        <p:spPr>
          <a:xfrm>
            <a:off x="6816080" y="1739988"/>
            <a:ext cx="5063967" cy="4825988"/>
          </a:xfrm>
        </p:spPr>
        <p:txBody>
          <a:bodyPr/>
          <a:lstStyle/>
          <a:p>
            <a:pPr>
              <a:buNone/>
            </a:pPr>
            <a:r>
              <a:rPr dirty="0" lang="en-IN" sz="1800">
                <a:latin charset="0" panose="02040504050005020304" pitchFamily="18" typeface="Amasis MT Pro"/>
              </a:rPr>
              <a:t>Sensors embedded in the vehicle capture live data across multiple domains:</a:t>
            </a:r>
          </a:p>
          <a:p>
            <a:pPr>
              <a:buFont charset="0" panose="020B0604020202020204" pitchFamily="34" typeface="Arial"/>
              <a:buChar char="•"/>
            </a:pPr>
            <a:r>
              <a:rPr dirty="0" lang="en-IN" sz="1800">
                <a:latin charset="0" panose="02040504050005020304" pitchFamily="18" typeface="Amasis MT Pro"/>
              </a:rPr>
              <a:t>Mechanical (e.g., pressure, torque)</a:t>
            </a:r>
          </a:p>
          <a:p>
            <a:pPr>
              <a:buFont charset="0" panose="020B0604020202020204" pitchFamily="34" typeface="Arial"/>
              <a:buChar char="•"/>
            </a:pPr>
            <a:r>
              <a:rPr dirty="0" lang="en-IN" sz="1800">
                <a:latin charset="0" panose="02040504050005020304" pitchFamily="18" typeface="Amasis MT Pro"/>
              </a:rPr>
              <a:t>Electrical (e.g., voltage, current)</a:t>
            </a:r>
          </a:p>
          <a:p>
            <a:pPr>
              <a:buFont charset="0" panose="020B0604020202020204" pitchFamily="34" typeface="Arial"/>
              <a:buChar char="•"/>
            </a:pPr>
            <a:r>
              <a:rPr dirty="0" lang="en-IN" sz="1800">
                <a:latin charset="0" panose="02040504050005020304" pitchFamily="18" typeface="Amasis MT Pro"/>
              </a:rPr>
              <a:t>Environmental (e.g., humidity, external temperature)</a:t>
            </a:r>
          </a:p>
          <a:p>
            <a:pPr>
              <a:buFont charset="0" panose="020B0604020202020204" pitchFamily="34" typeface="Arial"/>
              <a:buChar char="•"/>
            </a:pPr>
            <a:r>
              <a:rPr dirty="0" lang="en-IN" sz="1800">
                <a:latin charset="0" panose="02040504050005020304" pitchFamily="18" typeface="Amasis MT Pro"/>
              </a:rPr>
              <a:t>User </a:t>
            </a:r>
            <a:r>
              <a:rPr dirty="0" err="1" lang="en-IN" sz="1800">
                <a:latin charset="0" panose="02040504050005020304" pitchFamily="18" typeface="Amasis MT Pro"/>
              </a:rPr>
              <a:t>behavior</a:t>
            </a:r>
            <a:r>
              <a:rPr dirty="0" lang="en-IN" sz="1800">
                <a:latin charset="0" panose="02040504050005020304" pitchFamily="18" typeface="Amasis MT Pro"/>
              </a:rPr>
              <a:t> (e.g., braking style, steering angle)</a:t>
            </a:r>
          </a:p>
          <a:p>
            <a:pPr>
              <a:buFont charset="0" panose="020B0604020202020204" pitchFamily="34" typeface="Arial"/>
              <a:buChar char="•"/>
            </a:pPr>
            <a:r>
              <a:rPr b="1" dirty="0" lang="en-IN" sz="1800">
                <a:latin charset="0" panose="02040504050005020304" pitchFamily="18" typeface="Amasis MT Pro"/>
              </a:rPr>
              <a:t>Automotive Example</a:t>
            </a:r>
            <a:r>
              <a:rPr dirty="0" lang="en-IN" sz="1800">
                <a:latin charset="0" panose="02040504050005020304" pitchFamily="18" typeface="Amasis MT Pro"/>
              </a:rPr>
              <a:t>:</a:t>
            </a:r>
          </a:p>
          <a:p>
            <a:pPr indent="-285750" lvl="1" marL="742950">
              <a:buFont charset="0" panose="020B0604020202020204" pitchFamily="34" typeface="Arial"/>
              <a:buChar char="•"/>
            </a:pPr>
            <a:r>
              <a:rPr b="1" dirty="0" lang="en-IN" sz="1800">
                <a:latin charset="0" panose="02040504050005020304" pitchFamily="18" typeface="Amasis MT Pro"/>
              </a:rPr>
              <a:t>Battery pack sensors</a:t>
            </a:r>
            <a:r>
              <a:rPr dirty="0" lang="en-IN" sz="1800">
                <a:latin charset="0" panose="02040504050005020304" pitchFamily="18" typeface="Amasis MT Pro"/>
              </a:rPr>
              <a:t> monitoring thermal hotspots</a:t>
            </a:r>
          </a:p>
          <a:p>
            <a:pPr indent="-285750" lvl="1" marL="742950">
              <a:buFont charset="0" panose="020B0604020202020204" pitchFamily="34" typeface="Arial"/>
              <a:buChar char="•"/>
            </a:pPr>
            <a:r>
              <a:rPr b="1" dirty="0" lang="en-IN" sz="1800">
                <a:latin charset="0" panose="02040504050005020304" pitchFamily="18" typeface="Amasis MT Pro"/>
              </a:rPr>
              <a:t>Accelerometers on suspension systems</a:t>
            </a:r>
            <a:r>
              <a:rPr dirty="0" lang="en-IN" sz="1800">
                <a:latin charset="0" panose="02040504050005020304" pitchFamily="18" typeface="Amasis MT Pro"/>
              </a:rPr>
              <a:t> for ride quality analysis</a:t>
            </a:r>
          </a:p>
          <a:p>
            <a:pPr>
              <a:buFont charset="0" panose="020B0604020202020204" pitchFamily="34" typeface="Arial"/>
              <a:buChar char="•"/>
            </a:pPr>
            <a:r>
              <a:rPr b="1" dirty="0" lang="en-IN" sz="1800">
                <a:latin charset="0" panose="02040504050005020304" pitchFamily="18" typeface="Amasis MT Pro"/>
              </a:rPr>
              <a:t>Use Case</a:t>
            </a:r>
            <a:r>
              <a:rPr dirty="0" lang="en-IN" sz="1800">
                <a:latin charset="0" panose="02040504050005020304" pitchFamily="18" typeface="Amasis MT Pro"/>
              </a:rPr>
              <a:t>: Collecting real-time tire pressure data to optimize </a:t>
            </a:r>
            <a:r>
              <a:rPr b="1" dirty="0" lang="en-IN" sz="1800">
                <a:latin charset="0" panose="02040504050005020304" pitchFamily="18" typeface="Amasis MT Pro"/>
              </a:rPr>
              <a:t>fuel economy</a:t>
            </a:r>
            <a:r>
              <a:rPr dirty="0" lang="en-IN" sz="1800">
                <a:latin charset="0" panose="02040504050005020304" pitchFamily="18" typeface="Amasis MT Pro"/>
              </a:rPr>
              <a:t> and safety.</a:t>
            </a:r>
          </a:p>
          <a:p>
            <a:endParaRPr dirty="0" lang="en-IN"/>
          </a:p>
        </p:txBody>
      </p:sp>
      <p:sp>
        <p:nvSpPr>
          <p:cNvPr id="5" name="Title 4">
            <a:extLst>
              <a:ext uri="{FF2B5EF4-FFF2-40B4-BE49-F238E27FC236}">
                <a16:creationId xmlns:a16="http://schemas.microsoft.com/office/drawing/2014/main" id="{3734B2ED-C134-FFD2-E092-BC27803603F8}"/>
              </a:ext>
            </a:extLst>
          </p:cNvPr>
          <p:cNvSpPr>
            <a:spLocks noGrp="1"/>
          </p:cNvSpPr>
          <p:nvPr>
            <p:ph type="title"/>
          </p:nvPr>
        </p:nvSpPr>
        <p:spPr>
          <a:xfrm>
            <a:off x="6744072" y="476672"/>
            <a:ext cx="5063967" cy="792163"/>
          </a:xfrm>
        </p:spPr>
        <p:txBody>
          <a:bodyPr/>
          <a:lstStyle/>
          <a:p>
            <a:r>
              <a:rPr dirty="0" lang="en-US"/>
              <a:t>3. </a:t>
            </a:r>
            <a:r>
              <a:rPr b="1" dirty="0" lang="en-US"/>
              <a:t>Data Sensors and IoT Devices</a:t>
            </a:r>
            <a:endParaRPr dirty="0" lang="en-IN"/>
          </a:p>
        </p:txBody>
      </p:sp>
      <p:pic>
        <p:nvPicPr>
          <p:cNvPr descr="Mage media" id="14338" name="Picture 2">
            <a:extLst>
              <a:ext uri="{FF2B5EF4-FFF2-40B4-BE49-F238E27FC236}">
                <a16:creationId xmlns:a16="http://schemas.microsoft.com/office/drawing/2014/main" id="{FA287C3D-32C6-509A-E7CF-F650DA382895}"/>
              </a:ext>
            </a:extLst>
          </p:cNvPr>
          <p:cNvPicPr>
            <a:picLocks noChangeArrowheads="1" noChangeAspect="1" noGrp="1"/>
          </p:cNvPicPr>
          <p:nvPr>
            <p:ph idx="18" sz="quarter" type="pic"/>
          </p:nvPr>
        </p:nvPicPr>
        <p:blipFill>
          <a:blip r:embed="rId3">
            <a:extLst>
              <a:ext uri="{28A0092B-C50C-407E-A947-70E740481C1C}">
                <a14:useLocalDpi xmlns:a14="http://schemas.microsoft.com/office/drawing/2010/main" val="0"/>
              </a:ext>
            </a:extLst>
          </a:blip>
          <a:stretch>
            <a:fillRect/>
          </a:stretch>
        </p:blipFill>
        <p:spPr bwMode="auto">
          <a:xfrm>
            <a:off x="119336" y="188640"/>
            <a:ext cx="3528392" cy="6408712"/>
          </a:xfrm>
          <a:prstGeom prst="rect">
            <a:avLst/>
          </a:prstGeom>
          <a:noFill/>
          <a:extLst>
            <a:ext uri="{909E8E84-426E-40DD-AFC4-6F175D3DCCD1}">
              <a14:hiddenFill xmlns:a14="http://schemas.microsoft.com/office/drawing/2010/main">
                <a:solidFill>
                  <a:srgbClr val="FFFFFF"/>
                </a:solidFill>
              </a14:hiddenFill>
            </a:ext>
          </a:extLst>
        </p:spPr>
      </p:pic>
      <p:pic>
        <p:nvPicPr>
          <p:cNvPr descr="Mage media" id="14340" name="Picture 4">
            <a:extLst>
              <a:ext uri="{FF2B5EF4-FFF2-40B4-BE49-F238E27FC236}">
                <a16:creationId xmlns:a16="http://schemas.microsoft.com/office/drawing/2014/main" id="{9E180AE3-8303-0C63-FC4B-4663FB738578}"/>
              </a:ext>
            </a:extLst>
          </p:cNvPr>
          <p:cNvPicPr>
            <a:picLocks noChangeArrowheads="1"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47728" y="188640"/>
            <a:ext cx="2667000" cy="64087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08189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heme/theme1.xml><?xml version="1.0" encoding="utf-8"?>
<a:theme xmlns:a="http://schemas.openxmlformats.org/drawingml/2006/main" name="Capgemini_2024">
  <a:themeElements>
    <a:clrScheme name="Capgemini">
      <a:dk1>
        <a:sysClr val="windowText" lastClr="000000"/>
      </a:dk1>
      <a:lt1>
        <a:srgbClr val="FFFFFF"/>
      </a:lt1>
      <a:dk2>
        <a:srgbClr val="000000"/>
      </a:dk2>
      <a:lt2>
        <a:srgbClr val="ECECEC"/>
      </a:lt2>
      <a:accent1>
        <a:srgbClr val="0070AD"/>
      </a:accent1>
      <a:accent2>
        <a:srgbClr val="12ABDB"/>
      </a:accent2>
      <a:accent3>
        <a:srgbClr val="14596B"/>
      </a:accent3>
      <a:accent4>
        <a:srgbClr val="272936"/>
      </a:accent4>
      <a:accent5>
        <a:srgbClr val="0F878A"/>
      </a:accent5>
      <a:accent6>
        <a:srgbClr val="14596B"/>
      </a:accent6>
      <a:hlink>
        <a:srgbClr val="00929B"/>
      </a:hlink>
      <a:folHlink>
        <a:srgbClr val="00E6E3"/>
      </a:folHlink>
    </a:clrScheme>
    <a:fontScheme name="Custom 1">
      <a:majorFont>
        <a:latin typeface="Amasis MT Pro"/>
        <a:ea typeface=""/>
        <a:cs typeface=""/>
      </a:majorFont>
      <a:minorFont>
        <a:latin typeface="Amasis M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4.pptx" id="{CAED51C0-F65D-4BF6-BF3B-AADDC8FCC7A2}" vid="{4D682C99-A36A-4849-ABF2-97DF139CA549}"/>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Public (Sec 0)</Classification>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11" ma:contentTypeDescription="Create a new document." ma:contentTypeScope="" ma:versionID="3aaf0f9d2064301305610fb2c4a290e0">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2b8266dd3e8c0b66e3d5c70a7635ee51"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6F49AD-A221-42E1-BFF9-A401606CF2EE}">
  <ds:schemaRefs>
    <ds:schemaRef ds:uri="http://schemas.microsoft.com/office/2006/metadata/properties"/>
    <ds:schemaRef ds:uri="http://schemas.microsoft.com/office/infopath/2007/PartnerControls"/>
    <ds:schemaRef ds:uri="f1122fed-4606-4ec8-90ef-13536176a38c"/>
  </ds:schemaRefs>
</ds:datastoreItem>
</file>

<file path=customXml/itemProps2.xml><?xml version="1.0" encoding="utf-8"?>
<ds:datastoreItem xmlns:ds="http://schemas.openxmlformats.org/officeDocument/2006/customXml" ds:itemID="{C9565FE6-4397-4CDB-BFD3-3E8F9147D7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4AA0B75-F81E-4CBD-8D2B-14583811BDF9}">
  <ds:schemaRefs>
    <ds:schemaRef ds:uri="http://schemas.microsoft.com/sharepoint/v3/contenttype/forms"/>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 template-Master_2024</Template>
  <TotalTime>11557</TotalTime>
  <Words>4293</Words>
  <Application>Microsoft Office PowerPoint</Application>
  <PresentationFormat>Widescreen</PresentationFormat>
  <Paragraphs>333</Paragraphs>
  <Slides>41</Slides>
  <Notes>41</Notes>
  <HiddenSlides>1</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1</vt:i4>
      </vt:variant>
    </vt:vector>
  </HeadingPairs>
  <TitlesOfParts>
    <vt:vector size="53" baseType="lpstr">
      <vt:lpstr>Lucida Fax</vt:lpstr>
      <vt:lpstr>-apple-system</vt:lpstr>
      <vt:lpstr>Ubuntu Light</vt:lpstr>
      <vt:lpstr>Amasis MT Pro</vt:lpstr>
      <vt:lpstr>Aptos SemiBold</vt:lpstr>
      <vt:lpstr>Wingdings</vt:lpstr>
      <vt:lpstr>Ubuntu</vt:lpstr>
      <vt:lpstr>Arial</vt:lpstr>
      <vt:lpstr>Segoe Sans</vt:lpstr>
      <vt:lpstr>Verdana</vt:lpstr>
      <vt:lpstr>Amasis MT Pro Light</vt:lpstr>
      <vt:lpstr>Capgemini_2024</vt:lpstr>
      <vt:lpstr> Digital Twin Technology in the Automotive Industry</vt:lpstr>
      <vt:lpstr>Content:</vt:lpstr>
      <vt:lpstr>1.Introduction </vt:lpstr>
      <vt:lpstr>How does a digital twin work?</vt:lpstr>
      <vt:lpstr>History of digital twin technology </vt:lpstr>
      <vt:lpstr>2. Key Components</vt:lpstr>
      <vt:lpstr>1. Physical Entity</vt:lpstr>
      <vt:lpstr>2. Digital Model</vt:lpstr>
      <vt:lpstr>3. Data Sensors and IoT Devices</vt:lpstr>
      <vt:lpstr>4. Data Integration and Communication Layer</vt:lpstr>
      <vt:lpstr>5. Analytics and AI/ML Models</vt:lpstr>
      <vt:lpstr>6. Visualization Tools</vt:lpstr>
      <vt:lpstr>7. Feedback Mechanism</vt:lpstr>
      <vt:lpstr>8. Security and Privacy Layer</vt:lpstr>
      <vt:lpstr>Types of digital twins</vt:lpstr>
      <vt:lpstr>Types of digital twins </vt:lpstr>
      <vt:lpstr>1.Component or Part Twin </vt:lpstr>
      <vt:lpstr>2. Asset Twin </vt:lpstr>
      <vt:lpstr>3. System or Unit Twin </vt:lpstr>
      <vt:lpstr>4. Process Twin </vt:lpstr>
      <vt:lpstr>5. Organization or Network Twin </vt:lpstr>
      <vt:lpstr>4. Applications of Digital Twin in the Automotive Industry </vt:lpstr>
      <vt:lpstr>Vehicle Design &amp; Development </vt:lpstr>
      <vt:lpstr>Manufacturing Optimization </vt:lpstr>
      <vt:lpstr>Testing and Calibration </vt:lpstr>
      <vt:lpstr>Predictive Maintenance </vt:lpstr>
      <vt:lpstr>5.Enabling Technologies </vt:lpstr>
      <vt:lpstr>Enabling Technologies </vt:lpstr>
      <vt:lpstr>PowerPoint Presentation</vt:lpstr>
      <vt:lpstr>6. Industry Examples </vt:lpstr>
      <vt:lpstr>Tesla &amp; BMW</vt:lpstr>
      <vt:lpstr>PowerPoint Presentation</vt:lpstr>
      <vt:lpstr>7. Benefits of Digital Twin in Automotive</vt:lpstr>
      <vt:lpstr>Benefits of Digital Twin in Automotive</vt:lpstr>
      <vt:lpstr>8.Challenges of Implementing Digital Twin in Automotive</vt:lpstr>
      <vt:lpstr>Challenges of Implementing Digital Twin in Automotive</vt:lpstr>
      <vt:lpstr>9.Future Outlook of Digital Twin in Automotive</vt:lpstr>
      <vt:lpstr>Future Outlook of Digital Twin in Automotive</vt:lpstr>
      <vt:lpstr>10.Conclusion and Summary</vt:lpstr>
      <vt:lpstr>Conclusion and Summary</vt:lpstr>
      <vt:lpstr>Thank You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Vulluri, Akhila</dc:creator>
  <cp:keywords/>
  <cp:lastModifiedBy>Vulluri, Akhila</cp:lastModifiedBy>
  <cp:revision>1</cp:revision>
  <dcterms:created xsi:type="dcterms:W3CDTF">2024-12-04T09:21:43Z</dcterms:created>
  <dcterms:modified xsi:type="dcterms:W3CDTF">2025-06-30T05:08:49Z</dcterms:modified>
  <cp:category>Company confidentie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name="ContentTypeId" pid="2">
    <vt:lpwstr>0x010100E3DB8F1B61B4E349B1D07C13E9DB8DAC</vt:lpwstr>
  </property>
  <property fmtid="{D5CDD505-2E9C-101B-9397-08002B2CF9AE}" name="MediaServiceImageTags" pid="3">
    <vt:lpwstr/>
  </property>
  <property fmtid="{D5CDD505-2E9C-101B-9397-08002B2CF9AE}" name="NXPowerLiteLastOptimized" pid="4">
    <vt:lpwstr>2971591</vt:lpwstr>
  </property>
  <property fmtid="{D5CDD505-2E9C-101B-9397-08002B2CF9AE}" name="NXPowerLiteSettings" pid="5">
    <vt:lpwstr>F7000400038000</vt:lpwstr>
  </property>
  <property fmtid="{D5CDD505-2E9C-101B-9397-08002B2CF9AE}" name="NXPowerLiteVersion" pid="6">
    <vt:lpwstr>S10.9.0</vt:lpwstr>
  </property>
</Properties>
</file>